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sldIdLst>
    <p:sldId id="258" r:id="rId2"/>
    <p:sldId id="256" r:id="rId3"/>
    <p:sldId id="257" r:id="rId4"/>
    <p:sldId id="260" r:id="rId5"/>
    <p:sldId id="259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  <p:sldId id="269" r:id="rId15"/>
    <p:sldId id="270" r:id="rId16"/>
    <p:sldId id="271" r:id="rId17"/>
    <p:sldId id="272" r:id="rId18"/>
    <p:sldId id="275" r:id="rId19"/>
    <p:sldId id="273" r:id="rId20"/>
    <p:sldId id="274" r:id="rId21"/>
    <p:sldId id="279" r:id="rId22"/>
    <p:sldId id="276" r:id="rId23"/>
    <p:sldId id="277" r:id="rId24"/>
    <p:sldId id="278" r:id="rId2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6" d="100"/>
          <a:sy n="86" d="100"/>
        </p:scale>
        <p:origin x="485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3">
  <dgm:title val=""/>
  <dgm:desc val=""/>
  <dgm:catLst>
    <dgm:cat type="accent4" pri="11300"/>
  </dgm:catLst>
  <dgm:styleLbl name="node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shade val="80000"/>
      </a:schemeClr>
      <a:schemeClr val="accent4">
        <a:tint val="7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/>
    <dgm:txEffectClrLst/>
  </dgm:styleLbl>
  <dgm:styleLbl name="lnNode1">
    <dgm:fillClrLst>
      <a:schemeClr val="accent4">
        <a:shade val="80000"/>
      </a:schemeClr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4">
        <a:shade val="90000"/>
      </a:schemeClr>
      <a:schemeClr val="accent4">
        <a:tint val="70000"/>
      </a:schemeClr>
    </dgm:fillClrLst>
    <dgm:linClrLst>
      <a:schemeClr val="accent4">
        <a:shade val="90000"/>
      </a:schemeClr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9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8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shade val="80000"/>
      </a:schemeClr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D553FE8-3487-4DA5-AB7F-B5A4C8F2957A}" type="doc">
      <dgm:prSet loTypeId="urn:microsoft.com/office/officeart/2005/8/layout/cycle1" loCatId="cycle" qsTypeId="urn:microsoft.com/office/officeart/2005/8/quickstyle/simple1" qsCatId="simple" csTypeId="urn:microsoft.com/office/officeart/2005/8/colors/accent4_3" csCatId="accent4" phldr="1"/>
      <dgm:spPr/>
      <dgm:t>
        <a:bodyPr/>
        <a:lstStyle/>
        <a:p>
          <a:endParaRPr lang="es-CO"/>
        </a:p>
      </dgm:t>
    </dgm:pt>
    <dgm:pt modelId="{263CAA62-2F4C-4227-AC85-06BF5FC752BF}">
      <dgm:prSet phldrT="[Text]"/>
      <dgm:spPr/>
      <dgm:t>
        <a:bodyPr/>
        <a:lstStyle/>
        <a:p>
          <a:r>
            <a:rPr lang="es-CO" dirty="0" smtClean="0"/>
            <a:t>Crear</a:t>
          </a:r>
          <a:endParaRPr lang="es-CO" dirty="0"/>
        </a:p>
      </dgm:t>
    </dgm:pt>
    <dgm:pt modelId="{D9B46DE8-9CA8-4D4F-AD23-37D7F16311FC}" type="parTrans" cxnId="{D58634AF-534B-420E-987E-66E1B1608A2F}">
      <dgm:prSet/>
      <dgm:spPr/>
      <dgm:t>
        <a:bodyPr/>
        <a:lstStyle/>
        <a:p>
          <a:endParaRPr lang="es-CO"/>
        </a:p>
      </dgm:t>
    </dgm:pt>
    <dgm:pt modelId="{8B7C59D8-D631-4208-9661-25E1AB9E8B6F}" type="sibTrans" cxnId="{D58634AF-534B-420E-987E-66E1B1608A2F}">
      <dgm:prSet/>
      <dgm:spPr/>
      <dgm:t>
        <a:bodyPr/>
        <a:lstStyle/>
        <a:p>
          <a:endParaRPr lang="es-CO"/>
        </a:p>
      </dgm:t>
    </dgm:pt>
    <dgm:pt modelId="{BCD981CB-701C-4CF7-89E1-C0382BF8724D}">
      <dgm:prSet phldrT="[Text]"/>
      <dgm:spPr/>
      <dgm:t>
        <a:bodyPr/>
        <a:lstStyle/>
        <a:p>
          <a:r>
            <a:rPr lang="es-CO" dirty="0" smtClean="0"/>
            <a:t>Configurar</a:t>
          </a:r>
          <a:endParaRPr lang="es-CO" dirty="0"/>
        </a:p>
      </dgm:t>
    </dgm:pt>
    <dgm:pt modelId="{0992D595-0657-4D99-B296-3F1B73642B2D}" type="parTrans" cxnId="{C75C5A0B-8ED8-4CB6-8D12-02D2B6379CFD}">
      <dgm:prSet/>
      <dgm:spPr/>
      <dgm:t>
        <a:bodyPr/>
        <a:lstStyle/>
        <a:p>
          <a:endParaRPr lang="es-CO"/>
        </a:p>
      </dgm:t>
    </dgm:pt>
    <dgm:pt modelId="{B6ABCC42-4D0F-44A4-B423-6C16F6CBDD9B}" type="sibTrans" cxnId="{C75C5A0B-8ED8-4CB6-8D12-02D2B6379CFD}">
      <dgm:prSet/>
      <dgm:spPr/>
      <dgm:t>
        <a:bodyPr/>
        <a:lstStyle/>
        <a:p>
          <a:endParaRPr lang="es-CO"/>
        </a:p>
      </dgm:t>
    </dgm:pt>
    <dgm:pt modelId="{447504E7-4C10-44FF-8C54-809943B4E050}">
      <dgm:prSet phldrT="[Text]"/>
      <dgm:spPr/>
      <dgm:t>
        <a:bodyPr/>
        <a:lstStyle/>
        <a:p>
          <a:r>
            <a:rPr lang="es-CO" dirty="0" smtClean="0"/>
            <a:t>Activar</a:t>
          </a:r>
          <a:endParaRPr lang="es-CO" dirty="0"/>
        </a:p>
      </dgm:t>
    </dgm:pt>
    <dgm:pt modelId="{AF8CC4F9-9CD3-4F59-9413-B40555C80E61}" type="parTrans" cxnId="{D4806BD9-6A1E-456C-B706-FD7C34D9077A}">
      <dgm:prSet/>
      <dgm:spPr/>
      <dgm:t>
        <a:bodyPr/>
        <a:lstStyle/>
        <a:p>
          <a:endParaRPr lang="es-CO"/>
        </a:p>
      </dgm:t>
    </dgm:pt>
    <dgm:pt modelId="{C7147F81-4BE8-4A65-938C-D1B4037C3A62}" type="sibTrans" cxnId="{D4806BD9-6A1E-456C-B706-FD7C34D9077A}">
      <dgm:prSet/>
      <dgm:spPr/>
      <dgm:t>
        <a:bodyPr/>
        <a:lstStyle/>
        <a:p>
          <a:endParaRPr lang="es-CO"/>
        </a:p>
      </dgm:t>
    </dgm:pt>
    <dgm:pt modelId="{902A9EA7-0FD6-47EC-8E6A-72020EFDB2A3}">
      <dgm:prSet phldrT="[Text]"/>
      <dgm:spPr/>
      <dgm:t>
        <a:bodyPr/>
        <a:lstStyle/>
        <a:p>
          <a:r>
            <a:rPr lang="es-CO" dirty="0" smtClean="0"/>
            <a:t>Espacio en disco</a:t>
          </a:r>
          <a:endParaRPr lang="es-CO" dirty="0"/>
        </a:p>
      </dgm:t>
    </dgm:pt>
    <dgm:pt modelId="{F4219906-EB94-40E5-A8E4-F3696DB02121}" type="parTrans" cxnId="{68C16165-AABE-4649-A745-990907C4FB30}">
      <dgm:prSet/>
      <dgm:spPr/>
      <dgm:t>
        <a:bodyPr/>
        <a:lstStyle/>
        <a:p>
          <a:endParaRPr lang="es-CO"/>
        </a:p>
      </dgm:t>
    </dgm:pt>
    <dgm:pt modelId="{E37E2577-4F01-4AF9-8E05-15AB862BDE4A}" type="sibTrans" cxnId="{68C16165-AABE-4649-A745-990907C4FB30}">
      <dgm:prSet/>
      <dgm:spPr/>
      <dgm:t>
        <a:bodyPr/>
        <a:lstStyle/>
        <a:p>
          <a:endParaRPr lang="es-CO"/>
        </a:p>
      </dgm:t>
    </dgm:pt>
    <dgm:pt modelId="{ADC4A781-1C61-4F72-B497-4467E4DA29F6}">
      <dgm:prSet phldrT="[Text]"/>
      <dgm:spPr/>
      <dgm:t>
        <a:bodyPr/>
        <a:lstStyle/>
        <a:p>
          <a:r>
            <a:rPr lang="es-CO" dirty="0" smtClean="0"/>
            <a:t>Tunning</a:t>
          </a:r>
          <a:endParaRPr lang="es-CO" dirty="0"/>
        </a:p>
      </dgm:t>
    </dgm:pt>
    <dgm:pt modelId="{DD78D348-669B-4A3D-845B-5897D57F5811}" type="parTrans" cxnId="{4A5A056A-BC04-4E20-9689-D6C780883816}">
      <dgm:prSet/>
      <dgm:spPr/>
      <dgm:t>
        <a:bodyPr/>
        <a:lstStyle/>
        <a:p>
          <a:endParaRPr lang="es-CO"/>
        </a:p>
      </dgm:t>
    </dgm:pt>
    <dgm:pt modelId="{BEC28DA3-8BFD-4DDD-BDCF-5B9C04C44569}" type="sibTrans" cxnId="{4A5A056A-BC04-4E20-9689-D6C780883816}">
      <dgm:prSet/>
      <dgm:spPr/>
      <dgm:t>
        <a:bodyPr/>
        <a:lstStyle/>
        <a:p>
          <a:endParaRPr lang="es-CO"/>
        </a:p>
      </dgm:t>
    </dgm:pt>
    <dgm:pt modelId="{0857D37F-5CD0-487D-8489-5C77873A5516}">
      <dgm:prSet phldrT="[Text]"/>
      <dgm:spPr/>
      <dgm:t>
        <a:bodyPr/>
        <a:lstStyle/>
        <a:p>
          <a:r>
            <a:rPr lang="es-CO" dirty="0" smtClean="0"/>
            <a:t>Desactivar</a:t>
          </a:r>
          <a:endParaRPr lang="es-CO" dirty="0"/>
        </a:p>
      </dgm:t>
    </dgm:pt>
    <dgm:pt modelId="{58FC98F7-1E28-4428-ABCC-DCAB48EF3FEF}" type="parTrans" cxnId="{C7363138-69A4-42D3-8D0D-1F0C5BAA8370}">
      <dgm:prSet/>
      <dgm:spPr/>
      <dgm:t>
        <a:bodyPr/>
        <a:lstStyle/>
        <a:p>
          <a:endParaRPr lang="es-CO"/>
        </a:p>
      </dgm:t>
    </dgm:pt>
    <dgm:pt modelId="{A81522A9-CF34-4EFD-8364-23E3AC763771}" type="sibTrans" cxnId="{C7363138-69A4-42D3-8D0D-1F0C5BAA8370}">
      <dgm:prSet/>
      <dgm:spPr/>
      <dgm:t>
        <a:bodyPr/>
        <a:lstStyle/>
        <a:p>
          <a:endParaRPr lang="es-CO"/>
        </a:p>
      </dgm:t>
    </dgm:pt>
    <dgm:pt modelId="{EA0A64BF-390B-4BDC-9877-9DEF4F68869D}">
      <dgm:prSet phldrT="[Text]"/>
      <dgm:spPr/>
      <dgm:t>
        <a:bodyPr/>
        <a:lstStyle/>
        <a:p>
          <a:r>
            <a:rPr lang="es-CO" dirty="0" smtClean="0"/>
            <a:t>Eliminar</a:t>
          </a:r>
          <a:endParaRPr lang="es-CO" dirty="0"/>
        </a:p>
      </dgm:t>
    </dgm:pt>
    <dgm:pt modelId="{B7DE9659-35BC-43C0-A309-BE4B0D82397C}" type="parTrans" cxnId="{8062F98B-B265-4696-AFE1-70E70D9F4755}">
      <dgm:prSet/>
      <dgm:spPr/>
      <dgm:t>
        <a:bodyPr/>
        <a:lstStyle/>
        <a:p>
          <a:endParaRPr lang="es-CO"/>
        </a:p>
      </dgm:t>
    </dgm:pt>
    <dgm:pt modelId="{3A552F05-7E31-41A6-B370-BA160E87DAD4}" type="sibTrans" cxnId="{8062F98B-B265-4696-AFE1-70E70D9F4755}">
      <dgm:prSet/>
      <dgm:spPr/>
      <dgm:t>
        <a:bodyPr/>
        <a:lstStyle/>
        <a:p>
          <a:endParaRPr lang="es-CO"/>
        </a:p>
      </dgm:t>
    </dgm:pt>
    <dgm:pt modelId="{D9480328-A46C-4654-8106-D0F3ADAB3098}" type="pres">
      <dgm:prSet presAssocID="{CD553FE8-3487-4DA5-AB7F-B5A4C8F2957A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F9C9D16-80CB-4EFB-A21A-E5320B06D98F}" type="pres">
      <dgm:prSet presAssocID="{263CAA62-2F4C-4227-AC85-06BF5FC752BF}" presName="dummy" presStyleCnt="0"/>
      <dgm:spPr/>
    </dgm:pt>
    <dgm:pt modelId="{7982F7E8-5EDB-4530-9062-24BD5D59AB79}" type="pres">
      <dgm:prSet presAssocID="{263CAA62-2F4C-4227-AC85-06BF5FC752BF}" presName="node" presStyleLbl="revTx" presStyleIdx="0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36D4BE5-AFF6-48CA-B4F2-090697839F3F}" type="pres">
      <dgm:prSet presAssocID="{8B7C59D8-D631-4208-9661-25E1AB9E8B6F}" presName="sibTrans" presStyleLbl="node1" presStyleIdx="0" presStyleCnt="7"/>
      <dgm:spPr/>
      <dgm:t>
        <a:bodyPr/>
        <a:lstStyle/>
        <a:p>
          <a:endParaRPr lang="es-ES"/>
        </a:p>
      </dgm:t>
    </dgm:pt>
    <dgm:pt modelId="{EA03CA2E-5BD7-4B6D-A45A-80F0FAB6E73E}" type="pres">
      <dgm:prSet presAssocID="{BCD981CB-701C-4CF7-89E1-C0382BF8724D}" presName="dummy" presStyleCnt="0"/>
      <dgm:spPr/>
    </dgm:pt>
    <dgm:pt modelId="{C8FB3291-6CD9-4A57-8717-662E71E666DF}" type="pres">
      <dgm:prSet presAssocID="{BCD981CB-701C-4CF7-89E1-C0382BF8724D}" presName="node" presStyleLbl="revTx" presStyleIdx="1" presStyleCnt="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91247351-380F-41D7-8144-75B94197D4B0}" type="pres">
      <dgm:prSet presAssocID="{B6ABCC42-4D0F-44A4-B423-6C16F6CBDD9B}" presName="sibTrans" presStyleLbl="node1" presStyleIdx="1" presStyleCnt="7"/>
      <dgm:spPr/>
      <dgm:t>
        <a:bodyPr/>
        <a:lstStyle/>
        <a:p>
          <a:endParaRPr lang="es-ES"/>
        </a:p>
      </dgm:t>
    </dgm:pt>
    <dgm:pt modelId="{2A2E10BD-33BB-4866-B274-A47101209B4A}" type="pres">
      <dgm:prSet presAssocID="{447504E7-4C10-44FF-8C54-809943B4E050}" presName="dummy" presStyleCnt="0"/>
      <dgm:spPr/>
    </dgm:pt>
    <dgm:pt modelId="{AE82C366-2D2F-4645-B98B-9DE4DD220086}" type="pres">
      <dgm:prSet presAssocID="{447504E7-4C10-44FF-8C54-809943B4E050}" presName="node" presStyleLbl="revTx" presStyleIdx="2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9B1DF64-A743-4858-9264-03DE30062230}" type="pres">
      <dgm:prSet presAssocID="{C7147F81-4BE8-4A65-938C-D1B4037C3A62}" presName="sibTrans" presStyleLbl="node1" presStyleIdx="2" presStyleCnt="7"/>
      <dgm:spPr/>
      <dgm:t>
        <a:bodyPr/>
        <a:lstStyle/>
        <a:p>
          <a:endParaRPr lang="es-ES"/>
        </a:p>
      </dgm:t>
    </dgm:pt>
    <dgm:pt modelId="{DE596C51-23A2-44FF-93A5-E6F72C8ED032}" type="pres">
      <dgm:prSet presAssocID="{902A9EA7-0FD6-47EC-8E6A-72020EFDB2A3}" presName="dummy" presStyleCnt="0"/>
      <dgm:spPr/>
    </dgm:pt>
    <dgm:pt modelId="{F603F0DD-E976-4CBF-B24C-4E1D54CCCA7B}" type="pres">
      <dgm:prSet presAssocID="{902A9EA7-0FD6-47EC-8E6A-72020EFDB2A3}" presName="node" presStyleLbl="revTx" presStyleIdx="3" presStyleCnt="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89B20F28-D395-49FF-8C0A-BA8F2DFDEDF3}" type="pres">
      <dgm:prSet presAssocID="{E37E2577-4F01-4AF9-8E05-15AB862BDE4A}" presName="sibTrans" presStyleLbl="node1" presStyleIdx="3" presStyleCnt="7"/>
      <dgm:spPr/>
      <dgm:t>
        <a:bodyPr/>
        <a:lstStyle/>
        <a:p>
          <a:endParaRPr lang="es-ES"/>
        </a:p>
      </dgm:t>
    </dgm:pt>
    <dgm:pt modelId="{5AF0D51C-4A54-4414-980A-24D4B802AB86}" type="pres">
      <dgm:prSet presAssocID="{ADC4A781-1C61-4F72-B497-4467E4DA29F6}" presName="dummy" presStyleCnt="0"/>
      <dgm:spPr/>
    </dgm:pt>
    <dgm:pt modelId="{376FBE3D-2836-4E76-B63B-46A3FD58BE41}" type="pres">
      <dgm:prSet presAssocID="{ADC4A781-1C61-4F72-B497-4467E4DA29F6}" presName="node" presStyleLbl="revTx" presStyleIdx="4" presStyleCnt="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830ED88E-2E63-41A8-824C-500E58CE2CD6}" type="pres">
      <dgm:prSet presAssocID="{BEC28DA3-8BFD-4DDD-BDCF-5B9C04C44569}" presName="sibTrans" presStyleLbl="node1" presStyleIdx="4" presStyleCnt="7"/>
      <dgm:spPr/>
      <dgm:t>
        <a:bodyPr/>
        <a:lstStyle/>
        <a:p>
          <a:endParaRPr lang="es-ES"/>
        </a:p>
      </dgm:t>
    </dgm:pt>
    <dgm:pt modelId="{098021B7-03CA-4F41-AE03-16A651B56BF1}" type="pres">
      <dgm:prSet presAssocID="{0857D37F-5CD0-487D-8489-5C77873A5516}" presName="dummy" presStyleCnt="0"/>
      <dgm:spPr/>
    </dgm:pt>
    <dgm:pt modelId="{EBC294F2-2BFF-485F-849C-D38C6A2A5D2A}" type="pres">
      <dgm:prSet presAssocID="{0857D37F-5CD0-487D-8489-5C77873A5516}" presName="node" presStyleLbl="revTx" presStyleIdx="5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41AF6F9-C8F8-4CE8-93A1-8FFA7A3F2BDF}" type="pres">
      <dgm:prSet presAssocID="{A81522A9-CF34-4EFD-8364-23E3AC763771}" presName="sibTrans" presStyleLbl="node1" presStyleIdx="5" presStyleCnt="7"/>
      <dgm:spPr/>
      <dgm:t>
        <a:bodyPr/>
        <a:lstStyle/>
        <a:p>
          <a:endParaRPr lang="es-ES"/>
        </a:p>
      </dgm:t>
    </dgm:pt>
    <dgm:pt modelId="{70BD0B97-5460-46B0-8DDE-CF694C410A90}" type="pres">
      <dgm:prSet presAssocID="{EA0A64BF-390B-4BDC-9877-9DEF4F68869D}" presName="dummy" presStyleCnt="0"/>
      <dgm:spPr/>
    </dgm:pt>
    <dgm:pt modelId="{6F21CC78-B7B8-4E70-9812-B0A05186FBA4}" type="pres">
      <dgm:prSet presAssocID="{EA0A64BF-390B-4BDC-9877-9DEF4F68869D}" presName="node" presStyleLbl="revTx" presStyleIdx="6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898A4B2-E5F1-42AB-AC4B-93C8F5AEA0D0}" type="pres">
      <dgm:prSet presAssocID="{3A552F05-7E31-41A6-B370-BA160E87DAD4}" presName="sibTrans" presStyleLbl="node1" presStyleIdx="6" presStyleCnt="7"/>
      <dgm:spPr/>
      <dgm:t>
        <a:bodyPr/>
        <a:lstStyle/>
        <a:p>
          <a:endParaRPr lang="es-ES"/>
        </a:p>
      </dgm:t>
    </dgm:pt>
  </dgm:ptLst>
  <dgm:cxnLst>
    <dgm:cxn modelId="{DC3A7B1E-22DD-49D5-8004-864B8BC9CA5D}" type="presOf" srcId="{263CAA62-2F4C-4227-AC85-06BF5FC752BF}" destId="{7982F7E8-5EDB-4530-9062-24BD5D59AB79}" srcOrd="0" destOrd="0" presId="urn:microsoft.com/office/officeart/2005/8/layout/cycle1"/>
    <dgm:cxn modelId="{67C5B97D-C926-4660-92BE-DCC1E54D9FF6}" type="presOf" srcId="{902A9EA7-0FD6-47EC-8E6A-72020EFDB2A3}" destId="{F603F0DD-E976-4CBF-B24C-4E1D54CCCA7B}" srcOrd="0" destOrd="0" presId="urn:microsoft.com/office/officeart/2005/8/layout/cycle1"/>
    <dgm:cxn modelId="{68081C12-4ED3-46AE-A9D4-3B575FB87892}" type="presOf" srcId="{BEC28DA3-8BFD-4DDD-BDCF-5B9C04C44569}" destId="{830ED88E-2E63-41A8-824C-500E58CE2CD6}" srcOrd="0" destOrd="0" presId="urn:microsoft.com/office/officeart/2005/8/layout/cycle1"/>
    <dgm:cxn modelId="{68C16165-AABE-4649-A745-990907C4FB30}" srcId="{CD553FE8-3487-4DA5-AB7F-B5A4C8F2957A}" destId="{902A9EA7-0FD6-47EC-8E6A-72020EFDB2A3}" srcOrd="3" destOrd="0" parTransId="{F4219906-EB94-40E5-A8E4-F3696DB02121}" sibTransId="{E37E2577-4F01-4AF9-8E05-15AB862BDE4A}"/>
    <dgm:cxn modelId="{FE6CB557-CB68-4005-8268-F71FEB1569F8}" type="presOf" srcId="{BCD981CB-701C-4CF7-89E1-C0382BF8724D}" destId="{C8FB3291-6CD9-4A57-8717-662E71E666DF}" srcOrd="0" destOrd="0" presId="urn:microsoft.com/office/officeart/2005/8/layout/cycle1"/>
    <dgm:cxn modelId="{289195DE-28E6-4FF0-A907-F0AB6A66B509}" type="presOf" srcId="{8B7C59D8-D631-4208-9661-25E1AB9E8B6F}" destId="{436D4BE5-AFF6-48CA-B4F2-090697839F3F}" srcOrd="0" destOrd="0" presId="urn:microsoft.com/office/officeart/2005/8/layout/cycle1"/>
    <dgm:cxn modelId="{D58634AF-534B-420E-987E-66E1B1608A2F}" srcId="{CD553FE8-3487-4DA5-AB7F-B5A4C8F2957A}" destId="{263CAA62-2F4C-4227-AC85-06BF5FC752BF}" srcOrd="0" destOrd="0" parTransId="{D9B46DE8-9CA8-4D4F-AD23-37D7F16311FC}" sibTransId="{8B7C59D8-D631-4208-9661-25E1AB9E8B6F}"/>
    <dgm:cxn modelId="{F975BF43-9DD7-43FE-94D7-CD25C05A6B63}" type="presOf" srcId="{E37E2577-4F01-4AF9-8E05-15AB862BDE4A}" destId="{89B20F28-D395-49FF-8C0A-BA8F2DFDEDF3}" srcOrd="0" destOrd="0" presId="urn:microsoft.com/office/officeart/2005/8/layout/cycle1"/>
    <dgm:cxn modelId="{731ECE0A-BEC8-4C44-BC50-5D84AA870080}" type="presOf" srcId="{3A552F05-7E31-41A6-B370-BA160E87DAD4}" destId="{1898A4B2-E5F1-42AB-AC4B-93C8F5AEA0D0}" srcOrd="0" destOrd="0" presId="urn:microsoft.com/office/officeart/2005/8/layout/cycle1"/>
    <dgm:cxn modelId="{5F9E9886-4ECA-4B46-A114-E0CBC1FDB2E6}" type="presOf" srcId="{CD553FE8-3487-4DA5-AB7F-B5A4C8F2957A}" destId="{D9480328-A46C-4654-8106-D0F3ADAB3098}" srcOrd="0" destOrd="0" presId="urn:microsoft.com/office/officeart/2005/8/layout/cycle1"/>
    <dgm:cxn modelId="{057AA6ED-6C02-44FD-8A31-84FFC823B111}" type="presOf" srcId="{B6ABCC42-4D0F-44A4-B423-6C16F6CBDD9B}" destId="{91247351-380F-41D7-8144-75B94197D4B0}" srcOrd="0" destOrd="0" presId="urn:microsoft.com/office/officeart/2005/8/layout/cycle1"/>
    <dgm:cxn modelId="{30D08F63-2400-4AEB-A191-30A29B9E2C46}" type="presOf" srcId="{447504E7-4C10-44FF-8C54-809943B4E050}" destId="{AE82C366-2D2F-4645-B98B-9DE4DD220086}" srcOrd="0" destOrd="0" presId="urn:microsoft.com/office/officeart/2005/8/layout/cycle1"/>
    <dgm:cxn modelId="{306CD25C-756C-4679-A542-9C113BFB2F98}" type="presOf" srcId="{C7147F81-4BE8-4A65-938C-D1B4037C3A62}" destId="{29B1DF64-A743-4858-9264-03DE30062230}" srcOrd="0" destOrd="0" presId="urn:microsoft.com/office/officeart/2005/8/layout/cycle1"/>
    <dgm:cxn modelId="{38DE6632-D269-4EC4-B5D7-DFA9E9542234}" type="presOf" srcId="{ADC4A781-1C61-4F72-B497-4467E4DA29F6}" destId="{376FBE3D-2836-4E76-B63B-46A3FD58BE41}" srcOrd="0" destOrd="0" presId="urn:microsoft.com/office/officeart/2005/8/layout/cycle1"/>
    <dgm:cxn modelId="{4A5A056A-BC04-4E20-9689-D6C780883816}" srcId="{CD553FE8-3487-4DA5-AB7F-B5A4C8F2957A}" destId="{ADC4A781-1C61-4F72-B497-4467E4DA29F6}" srcOrd="4" destOrd="0" parTransId="{DD78D348-669B-4A3D-845B-5897D57F5811}" sibTransId="{BEC28DA3-8BFD-4DDD-BDCF-5B9C04C44569}"/>
    <dgm:cxn modelId="{ED370E01-1959-4FB6-82C8-40683082CFA4}" type="presOf" srcId="{0857D37F-5CD0-487D-8489-5C77873A5516}" destId="{EBC294F2-2BFF-485F-849C-D38C6A2A5D2A}" srcOrd="0" destOrd="0" presId="urn:microsoft.com/office/officeart/2005/8/layout/cycle1"/>
    <dgm:cxn modelId="{8062F98B-B265-4696-AFE1-70E70D9F4755}" srcId="{CD553FE8-3487-4DA5-AB7F-B5A4C8F2957A}" destId="{EA0A64BF-390B-4BDC-9877-9DEF4F68869D}" srcOrd="6" destOrd="0" parTransId="{B7DE9659-35BC-43C0-A309-BE4B0D82397C}" sibTransId="{3A552F05-7E31-41A6-B370-BA160E87DAD4}"/>
    <dgm:cxn modelId="{D4806BD9-6A1E-456C-B706-FD7C34D9077A}" srcId="{CD553FE8-3487-4DA5-AB7F-B5A4C8F2957A}" destId="{447504E7-4C10-44FF-8C54-809943B4E050}" srcOrd="2" destOrd="0" parTransId="{AF8CC4F9-9CD3-4F59-9413-B40555C80E61}" sibTransId="{C7147F81-4BE8-4A65-938C-D1B4037C3A62}"/>
    <dgm:cxn modelId="{C75C5A0B-8ED8-4CB6-8D12-02D2B6379CFD}" srcId="{CD553FE8-3487-4DA5-AB7F-B5A4C8F2957A}" destId="{BCD981CB-701C-4CF7-89E1-C0382BF8724D}" srcOrd="1" destOrd="0" parTransId="{0992D595-0657-4D99-B296-3F1B73642B2D}" sibTransId="{B6ABCC42-4D0F-44A4-B423-6C16F6CBDD9B}"/>
    <dgm:cxn modelId="{F79DB53C-3722-4307-9C43-44DB03DC89CF}" type="presOf" srcId="{A81522A9-CF34-4EFD-8364-23E3AC763771}" destId="{141AF6F9-C8F8-4CE8-93A1-8FFA7A3F2BDF}" srcOrd="0" destOrd="0" presId="urn:microsoft.com/office/officeart/2005/8/layout/cycle1"/>
    <dgm:cxn modelId="{D622D6F1-C694-4E22-A6BF-F02031CD4270}" type="presOf" srcId="{EA0A64BF-390B-4BDC-9877-9DEF4F68869D}" destId="{6F21CC78-B7B8-4E70-9812-B0A05186FBA4}" srcOrd="0" destOrd="0" presId="urn:microsoft.com/office/officeart/2005/8/layout/cycle1"/>
    <dgm:cxn modelId="{C7363138-69A4-42D3-8D0D-1F0C5BAA8370}" srcId="{CD553FE8-3487-4DA5-AB7F-B5A4C8F2957A}" destId="{0857D37F-5CD0-487D-8489-5C77873A5516}" srcOrd="5" destOrd="0" parTransId="{58FC98F7-1E28-4428-ABCC-DCAB48EF3FEF}" sibTransId="{A81522A9-CF34-4EFD-8364-23E3AC763771}"/>
    <dgm:cxn modelId="{1133609A-78ED-45F5-89D1-DB76D708CF25}" type="presParOf" srcId="{D9480328-A46C-4654-8106-D0F3ADAB3098}" destId="{FF9C9D16-80CB-4EFB-A21A-E5320B06D98F}" srcOrd="0" destOrd="0" presId="urn:microsoft.com/office/officeart/2005/8/layout/cycle1"/>
    <dgm:cxn modelId="{A18FFD0B-84E7-4A1E-9EDD-85E4AE31A7D0}" type="presParOf" srcId="{D9480328-A46C-4654-8106-D0F3ADAB3098}" destId="{7982F7E8-5EDB-4530-9062-24BD5D59AB79}" srcOrd="1" destOrd="0" presId="urn:microsoft.com/office/officeart/2005/8/layout/cycle1"/>
    <dgm:cxn modelId="{1183128C-3FBD-4CC6-86EA-8521824C37E1}" type="presParOf" srcId="{D9480328-A46C-4654-8106-D0F3ADAB3098}" destId="{436D4BE5-AFF6-48CA-B4F2-090697839F3F}" srcOrd="2" destOrd="0" presId="urn:microsoft.com/office/officeart/2005/8/layout/cycle1"/>
    <dgm:cxn modelId="{8D42F153-D869-49E2-A09B-AC75CA48EC00}" type="presParOf" srcId="{D9480328-A46C-4654-8106-D0F3ADAB3098}" destId="{EA03CA2E-5BD7-4B6D-A45A-80F0FAB6E73E}" srcOrd="3" destOrd="0" presId="urn:microsoft.com/office/officeart/2005/8/layout/cycle1"/>
    <dgm:cxn modelId="{0FF5EC23-C40E-4087-95B6-EAB134FE051B}" type="presParOf" srcId="{D9480328-A46C-4654-8106-D0F3ADAB3098}" destId="{C8FB3291-6CD9-4A57-8717-662E71E666DF}" srcOrd="4" destOrd="0" presId="urn:microsoft.com/office/officeart/2005/8/layout/cycle1"/>
    <dgm:cxn modelId="{AE5CD82A-4622-4013-B555-11D25532436D}" type="presParOf" srcId="{D9480328-A46C-4654-8106-D0F3ADAB3098}" destId="{91247351-380F-41D7-8144-75B94197D4B0}" srcOrd="5" destOrd="0" presId="urn:microsoft.com/office/officeart/2005/8/layout/cycle1"/>
    <dgm:cxn modelId="{F01806C1-26BF-449E-B38D-0A61E81565E1}" type="presParOf" srcId="{D9480328-A46C-4654-8106-D0F3ADAB3098}" destId="{2A2E10BD-33BB-4866-B274-A47101209B4A}" srcOrd="6" destOrd="0" presId="urn:microsoft.com/office/officeart/2005/8/layout/cycle1"/>
    <dgm:cxn modelId="{7484D64B-086C-4B4A-A131-7CAE3FA7E0C1}" type="presParOf" srcId="{D9480328-A46C-4654-8106-D0F3ADAB3098}" destId="{AE82C366-2D2F-4645-B98B-9DE4DD220086}" srcOrd="7" destOrd="0" presId="urn:microsoft.com/office/officeart/2005/8/layout/cycle1"/>
    <dgm:cxn modelId="{2E1EC79B-5EFC-45AA-B32E-082CDFA8B1CE}" type="presParOf" srcId="{D9480328-A46C-4654-8106-D0F3ADAB3098}" destId="{29B1DF64-A743-4858-9264-03DE30062230}" srcOrd="8" destOrd="0" presId="urn:microsoft.com/office/officeart/2005/8/layout/cycle1"/>
    <dgm:cxn modelId="{2BBC3887-2CA2-4950-AD39-866A38C9E3DA}" type="presParOf" srcId="{D9480328-A46C-4654-8106-D0F3ADAB3098}" destId="{DE596C51-23A2-44FF-93A5-E6F72C8ED032}" srcOrd="9" destOrd="0" presId="urn:microsoft.com/office/officeart/2005/8/layout/cycle1"/>
    <dgm:cxn modelId="{F071CF53-75F8-4049-84B7-7FAF7548E1C0}" type="presParOf" srcId="{D9480328-A46C-4654-8106-D0F3ADAB3098}" destId="{F603F0DD-E976-4CBF-B24C-4E1D54CCCA7B}" srcOrd="10" destOrd="0" presId="urn:microsoft.com/office/officeart/2005/8/layout/cycle1"/>
    <dgm:cxn modelId="{57E8FBA9-0EA8-4EF1-82B8-F071B4B6467A}" type="presParOf" srcId="{D9480328-A46C-4654-8106-D0F3ADAB3098}" destId="{89B20F28-D395-49FF-8C0A-BA8F2DFDEDF3}" srcOrd="11" destOrd="0" presId="urn:microsoft.com/office/officeart/2005/8/layout/cycle1"/>
    <dgm:cxn modelId="{3D5C376F-DD0C-4F84-AE7D-8BF7EE6D8FF1}" type="presParOf" srcId="{D9480328-A46C-4654-8106-D0F3ADAB3098}" destId="{5AF0D51C-4A54-4414-980A-24D4B802AB86}" srcOrd="12" destOrd="0" presId="urn:microsoft.com/office/officeart/2005/8/layout/cycle1"/>
    <dgm:cxn modelId="{0B5A1E1A-931A-4827-A4D1-C4D8E4AE4BEC}" type="presParOf" srcId="{D9480328-A46C-4654-8106-D0F3ADAB3098}" destId="{376FBE3D-2836-4E76-B63B-46A3FD58BE41}" srcOrd="13" destOrd="0" presId="urn:microsoft.com/office/officeart/2005/8/layout/cycle1"/>
    <dgm:cxn modelId="{BCBEE5E7-4BA7-49DE-A3FF-8A72DC3AFBC0}" type="presParOf" srcId="{D9480328-A46C-4654-8106-D0F3ADAB3098}" destId="{830ED88E-2E63-41A8-824C-500E58CE2CD6}" srcOrd="14" destOrd="0" presId="urn:microsoft.com/office/officeart/2005/8/layout/cycle1"/>
    <dgm:cxn modelId="{FEA974B0-F63B-470D-96A3-BF79AA1A354C}" type="presParOf" srcId="{D9480328-A46C-4654-8106-D0F3ADAB3098}" destId="{098021B7-03CA-4F41-AE03-16A651B56BF1}" srcOrd="15" destOrd="0" presId="urn:microsoft.com/office/officeart/2005/8/layout/cycle1"/>
    <dgm:cxn modelId="{53AA4CAF-4B7F-4F87-A6E8-173C60E7B25D}" type="presParOf" srcId="{D9480328-A46C-4654-8106-D0F3ADAB3098}" destId="{EBC294F2-2BFF-485F-849C-D38C6A2A5D2A}" srcOrd="16" destOrd="0" presId="urn:microsoft.com/office/officeart/2005/8/layout/cycle1"/>
    <dgm:cxn modelId="{D12BD3DA-5B31-463D-B143-7D1CB13ABEFB}" type="presParOf" srcId="{D9480328-A46C-4654-8106-D0F3ADAB3098}" destId="{141AF6F9-C8F8-4CE8-93A1-8FFA7A3F2BDF}" srcOrd="17" destOrd="0" presId="urn:microsoft.com/office/officeart/2005/8/layout/cycle1"/>
    <dgm:cxn modelId="{BE3A0BE3-518F-4024-AEBE-59691D7D76D7}" type="presParOf" srcId="{D9480328-A46C-4654-8106-D0F3ADAB3098}" destId="{70BD0B97-5460-46B0-8DDE-CF694C410A90}" srcOrd="18" destOrd="0" presId="urn:microsoft.com/office/officeart/2005/8/layout/cycle1"/>
    <dgm:cxn modelId="{55C58F90-8FAB-40D0-A8E2-26E8663C8CDE}" type="presParOf" srcId="{D9480328-A46C-4654-8106-D0F3ADAB3098}" destId="{6F21CC78-B7B8-4E70-9812-B0A05186FBA4}" srcOrd="19" destOrd="0" presId="urn:microsoft.com/office/officeart/2005/8/layout/cycle1"/>
    <dgm:cxn modelId="{2D1EAAB4-FF45-4EE6-A6C3-30749FB40B3C}" type="presParOf" srcId="{D9480328-A46C-4654-8106-D0F3ADAB3098}" destId="{1898A4B2-E5F1-42AB-AC4B-93C8F5AEA0D0}" srcOrd="20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85EE771-08F5-44AF-9E9F-0C92AFC55C1C}" type="doc">
      <dgm:prSet loTypeId="urn:microsoft.com/office/officeart/2005/8/layout/radial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CO"/>
        </a:p>
      </dgm:t>
    </dgm:pt>
    <dgm:pt modelId="{63D57417-E1BD-4C6F-9ADB-6CE1C2604ABE}">
      <dgm:prSet phldrT="[Text]" custT="1"/>
      <dgm:spPr>
        <a:solidFill>
          <a:srgbClr val="FFCC00"/>
        </a:solidFill>
      </dgm:spPr>
      <dgm:t>
        <a:bodyPr/>
        <a:lstStyle/>
        <a:p>
          <a:r>
            <a:rPr kumimoji="0" lang="es-CO" sz="1100" b="1" i="0" u="none" strike="noStrike" cap="none" normalizeH="0" baseline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latin typeface="+mj-lt"/>
            </a:rPr>
            <a:t>Ciclo de vida </a:t>
          </a:r>
        </a:p>
        <a:p>
          <a:pPr rtl="0"/>
          <a:r>
            <a:rPr lang="es-CO" sz="11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</a:rPr>
            <a:t>Bases de Datos</a:t>
          </a:r>
          <a:endParaRPr lang="es-CO" sz="1100" b="1" dirty="0">
            <a:solidFill>
              <a:schemeClr val="tx1">
                <a:lumMod val="65000"/>
                <a:lumOff val="35000"/>
              </a:schemeClr>
            </a:solidFill>
          </a:endParaRPr>
        </a:p>
      </dgm:t>
    </dgm:pt>
    <dgm:pt modelId="{D3C0BF74-68E8-4CCA-A5AD-06393FCE6DA5}" type="parTrans" cxnId="{3EE20591-E892-4A53-A1F9-61D120C3C3E3}">
      <dgm:prSet/>
      <dgm:spPr/>
      <dgm:t>
        <a:bodyPr/>
        <a:lstStyle/>
        <a:p>
          <a:endParaRPr lang="es-CO"/>
        </a:p>
      </dgm:t>
    </dgm:pt>
    <dgm:pt modelId="{D8CC54CE-50AF-4547-BD24-FB9E6E1F8097}" type="sibTrans" cxnId="{3EE20591-E892-4A53-A1F9-61D120C3C3E3}">
      <dgm:prSet/>
      <dgm:spPr/>
      <dgm:t>
        <a:bodyPr/>
        <a:lstStyle/>
        <a:p>
          <a:endParaRPr lang="es-CO"/>
        </a:p>
      </dgm:t>
    </dgm:pt>
    <dgm:pt modelId="{725B5C28-4A72-40D8-93C9-D50ABE1873BE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es-CO" dirty="0" smtClean="0"/>
            <a:t>Oracle</a:t>
          </a:r>
          <a:endParaRPr lang="es-CO" dirty="0"/>
        </a:p>
      </dgm:t>
    </dgm:pt>
    <dgm:pt modelId="{84E5EC24-BB01-46A5-A021-3B3AD0521B98}" type="parTrans" cxnId="{743FFF2D-9800-4517-9433-13D9C4718BCE}">
      <dgm:prSet/>
      <dgm:spPr/>
      <dgm:t>
        <a:bodyPr/>
        <a:lstStyle/>
        <a:p>
          <a:endParaRPr lang="es-CO" dirty="0"/>
        </a:p>
      </dgm:t>
    </dgm:pt>
    <dgm:pt modelId="{43C398A0-7DAE-408D-A184-995CD23F914F}" type="sibTrans" cxnId="{743FFF2D-9800-4517-9433-13D9C4718BCE}">
      <dgm:prSet/>
      <dgm:spPr/>
      <dgm:t>
        <a:bodyPr/>
        <a:lstStyle/>
        <a:p>
          <a:endParaRPr lang="es-CO"/>
        </a:p>
      </dgm:t>
    </dgm:pt>
    <dgm:pt modelId="{3E7F65CE-A26B-4E15-BCFE-643F17003B62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es-CO" dirty="0" smtClean="0"/>
            <a:t>DB2</a:t>
          </a:r>
          <a:endParaRPr lang="es-CO" dirty="0"/>
        </a:p>
      </dgm:t>
    </dgm:pt>
    <dgm:pt modelId="{EF87BFFD-FAD3-4B24-8F1C-5DBBF50CF791}" type="parTrans" cxnId="{F54B3E78-128D-4C76-B372-77E7686A4119}">
      <dgm:prSet/>
      <dgm:spPr/>
      <dgm:t>
        <a:bodyPr/>
        <a:lstStyle/>
        <a:p>
          <a:endParaRPr lang="es-CO" dirty="0"/>
        </a:p>
      </dgm:t>
    </dgm:pt>
    <dgm:pt modelId="{08ABD9F2-5248-48CE-A646-45C2F267E892}" type="sibTrans" cxnId="{F54B3E78-128D-4C76-B372-77E7686A4119}">
      <dgm:prSet/>
      <dgm:spPr/>
      <dgm:t>
        <a:bodyPr/>
        <a:lstStyle/>
        <a:p>
          <a:endParaRPr lang="es-CO"/>
        </a:p>
      </dgm:t>
    </dgm:pt>
    <dgm:pt modelId="{ED5D343A-50D7-4166-B623-AAFB83CAFE87}">
      <dgm:prSet phldrT="[Text]"/>
      <dgm:spPr>
        <a:solidFill>
          <a:schemeClr val="bg1">
            <a:lumMod val="75000"/>
          </a:schemeClr>
        </a:solidFill>
      </dgm:spPr>
      <dgm:t>
        <a:bodyPr/>
        <a:lstStyle/>
        <a:p>
          <a:r>
            <a:rPr lang="es-CO" dirty="0" smtClean="0"/>
            <a:t>SQL server</a:t>
          </a:r>
          <a:endParaRPr lang="es-CO" dirty="0"/>
        </a:p>
      </dgm:t>
    </dgm:pt>
    <dgm:pt modelId="{C95E87F8-0B56-4106-A5C3-C6E212260590}" type="parTrans" cxnId="{7B534BBF-F09F-4BB2-8D87-D0AA133BC7F0}">
      <dgm:prSet/>
      <dgm:spPr/>
      <dgm:t>
        <a:bodyPr/>
        <a:lstStyle/>
        <a:p>
          <a:endParaRPr lang="es-CO" dirty="0"/>
        </a:p>
      </dgm:t>
    </dgm:pt>
    <dgm:pt modelId="{55EFD30D-6EC5-4BB0-9163-1D04F7550985}" type="sibTrans" cxnId="{7B534BBF-F09F-4BB2-8D87-D0AA133BC7F0}">
      <dgm:prSet/>
      <dgm:spPr/>
      <dgm:t>
        <a:bodyPr/>
        <a:lstStyle/>
        <a:p>
          <a:endParaRPr lang="es-CO"/>
        </a:p>
      </dgm:t>
    </dgm:pt>
    <dgm:pt modelId="{5C1087D0-7995-4EAC-9693-6FE704FD7CEE}">
      <dgm:prSet phldrT="[Text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s-CO" dirty="0" smtClean="0"/>
            <a:t>Peoplesoft</a:t>
          </a:r>
          <a:endParaRPr lang="es-CO" dirty="0"/>
        </a:p>
      </dgm:t>
    </dgm:pt>
    <dgm:pt modelId="{E0F6B8D4-A779-4D23-88D4-9B4B63332623}" type="parTrans" cxnId="{8B696C12-4921-4D34-818D-BFE855FDDA2C}">
      <dgm:prSet/>
      <dgm:spPr/>
      <dgm:t>
        <a:bodyPr/>
        <a:lstStyle/>
        <a:p>
          <a:endParaRPr lang="es-CO" dirty="0"/>
        </a:p>
      </dgm:t>
    </dgm:pt>
    <dgm:pt modelId="{2FEAC069-14A8-4E08-8E79-8A2A8ED264A9}" type="sibTrans" cxnId="{8B696C12-4921-4D34-818D-BFE855FDDA2C}">
      <dgm:prSet/>
      <dgm:spPr/>
      <dgm:t>
        <a:bodyPr/>
        <a:lstStyle/>
        <a:p>
          <a:endParaRPr lang="es-CO"/>
        </a:p>
      </dgm:t>
    </dgm:pt>
    <dgm:pt modelId="{476E1D70-6D0F-42F7-84E2-2EDCE3E7515C}">
      <dgm:prSet phldrT="[Text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s-CO" dirty="0" smtClean="0"/>
            <a:t>JD Edwards</a:t>
          </a:r>
          <a:endParaRPr lang="es-CO" dirty="0"/>
        </a:p>
      </dgm:t>
    </dgm:pt>
    <dgm:pt modelId="{9572EA05-879B-4FD7-A526-C12205CE6A78}" type="parTrans" cxnId="{82C12BF7-BD1C-418F-AA49-E2D7FE7B75DD}">
      <dgm:prSet/>
      <dgm:spPr/>
      <dgm:t>
        <a:bodyPr/>
        <a:lstStyle/>
        <a:p>
          <a:endParaRPr lang="es-CO" dirty="0"/>
        </a:p>
      </dgm:t>
    </dgm:pt>
    <dgm:pt modelId="{7B92BD7C-B5B8-4A4C-9939-BAB5A5B4E87B}" type="sibTrans" cxnId="{82C12BF7-BD1C-418F-AA49-E2D7FE7B75DD}">
      <dgm:prSet/>
      <dgm:spPr/>
      <dgm:t>
        <a:bodyPr/>
        <a:lstStyle/>
        <a:p>
          <a:endParaRPr lang="es-CO"/>
        </a:p>
      </dgm:t>
    </dgm:pt>
    <dgm:pt modelId="{BCEAF43C-DDD1-40F8-8AFB-39F64BE31FE4}">
      <dgm:prSet phldrT="[Text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s-CO" dirty="0" smtClean="0"/>
            <a:t>AS400</a:t>
          </a:r>
          <a:endParaRPr lang="es-CO" dirty="0"/>
        </a:p>
      </dgm:t>
    </dgm:pt>
    <dgm:pt modelId="{08BC11C5-16F2-44FB-9658-497E848910C4}" type="parTrans" cxnId="{1F94E95E-AF12-4334-BCFD-3EA187F46A53}">
      <dgm:prSet/>
      <dgm:spPr/>
      <dgm:t>
        <a:bodyPr/>
        <a:lstStyle/>
        <a:p>
          <a:endParaRPr lang="es-CO" dirty="0"/>
        </a:p>
      </dgm:t>
    </dgm:pt>
    <dgm:pt modelId="{9DD0F9E9-6036-4221-B6BB-B98A05E8A03D}" type="sibTrans" cxnId="{1F94E95E-AF12-4334-BCFD-3EA187F46A53}">
      <dgm:prSet/>
      <dgm:spPr/>
      <dgm:t>
        <a:bodyPr/>
        <a:lstStyle/>
        <a:p>
          <a:endParaRPr lang="es-CO"/>
        </a:p>
      </dgm:t>
    </dgm:pt>
    <dgm:pt modelId="{7B2847B9-1F22-429F-8E78-4D58DEFC0E72}">
      <dgm:prSet phldrT="[Text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es-CO" dirty="0" smtClean="0"/>
            <a:t>Otros aplicativos</a:t>
          </a:r>
          <a:endParaRPr lang="es-CO" dirty="0"/>
        </a:p>
      </dgm:t>
    </dgm:pt>
    <dgm:pt modelId="{CBAB07FB-570E-4553-8E29-63A12C7210F4}" type="parTrans" cxnId="{2F45500E-67EF-463B-A3E6-4D8A0F99E1FC}">
      <dgm:prSet/>
      <dgm:spPr/>
      <dgm:t>
        <a:bodyPr/>
        <a:lstStyle/>
        <a:p>
          <a:endParaRPr lang="es-CO" dirty="0"/>
        </a:p>
      </dgm:t>
    </dgm:pt>
    <dgm:pt modelId="{F3515252-E94A-4723-9D08-4D9A36532F5A}" type="sibTrans" cxnId="{2F45500E-67EF-463B-A3E6-4D8A0F99E1FC}">
      <dgm:prSet/>
      <dgm:spPr/>
      <dgm:t>
        <a:bodyPr/>
        <a:lstStyle/>
        <a:p>
          <a:endParaRPr lang="es-CO"/>
        </a:p>
      </dgm:t>
    </dgm:pt>
    <dgm:pt modelId="{336E4948-C6E3-47D4-A88D-7CEBC6554DF4}" type="pres">
      <dgm:prSet presAssocID="{E85EE771-08F5-44AF-9E9F-0C92AFC55C1C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D8D5A994-399F-42C2-B3A9-FC1933D6C588}" type="pres">
      <dgm:prSet presAssocID="{63D57417-E1BD-4C6F-9ADB-6CE1C2604ABE}" presName="centerShape" presStyleLbl="node0" presStyleIdx="0" presStyleCnt="1" custScaleX="154853" custScaleY="156885"/>
      <dgm:spPr/>
      <dgm:t>
        <a:bodyPr/>
        <a:lstStyle/>
        <a:p>
          <a:endParaRPr lang="es-CO"/>
        </a:p>
      </dgm:t>
    </dgm:pt>
    <dgm:pt modelId="{378FE783-AE3E-452E-977C-F0D4759D1D56}" type="pres">
      <dgm:prSet presAssocID="{84E5EC24-BB01-46A5-A021-3B3AD0521B98}" presName="Name9" presStyleLbl="parChTrans1D2" presStyleIdx="0" presStyleCnt="7"/>
      <dgm:spPr/>
      <dgm:t>
        <a:bodyPr/>
        <a:lstStyle/>
        <a:p>
          <a:endParaRPr lang="es-ES"/>
        </a:p>
      </dgm:t>
    </dgm:pt>
    <dgm:pt modelId="{3A3EC745-6DA8-496A-A22F-245E734014DE}" type="pres">
      <dgm:prSet presAssocID="{84E5EC24-BB01-46A5-A021-3B3AD0521B98}" presName="connTx" presStyleLbl="parChTrans1D2" presStyleIdx="0" presStyleCnt="7"/>
      <dgm:spPr/>
      <dgm:t>
        <a:bodyPr/>
        <a:lstStyle/>
        <a:p>
          <a:endParaRPr lang="es-ES"/>
        </a:p>
      </dgm:t>
    </dgm:pt>
    <dgm:pt modelId="{E14D4872-E027-4B27-903F-303BA92E4DD1}" type="pres">
      <dgm:prSet presAssocID="{725B5C28-4A72-40D8-93C9-D50ABE1873BE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EFB97CF4-7857-4A97-8DB7-A20B572615A7}" type="pres">
      <dgm:prSet presAssocID="{EF87BFFD-FAD3-4B24-8F1C-5DBBF50CF791}" presName="Name9" presStyleLbl="parChTrans1D2" presStyleIdx="1" presStyleCnt="7"/>
      <dgm:spPr/>
      <dgm:t>
        <a:bodyPr/>
        <a:lstStyle/>
        <a:p>
          <a:endParaRPr lang="es-ES"/>
        </a:p>
      </dgm:t>
    </dgm:pt>
    <dgm:pt modelId="{8401B1E1-5B0E-48E3-B547-A4C7C3CE37FD}" type="pres">
      <dgm:prSet presAssocID="{EF87BFFD-FAD3-4B24-8F1C-5DBBF50CF791}" presName="connTx" presStyleLbl="parChTrans1D2" presStyleIdx="1" presStyleCnt="7"/>
      <dgm:spPr/>
      <dgm:t>
        <a:bodyPr/>
        <a:lstStyle/>
        <a:p>
          <a:endParaRPr lang="es-ES"/>
        </a:p>
      </dgm:t>
    </dgm:pt>
    <dgm:pt modelId="{09B36F9D-6F1A-41A0-A152-BA3970A72328}" type="pres">
      <dgm:prSet presAssocID="{3E7F65CE-A26B-4E15-BCFE-643F17003B62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C546513F-D2A8-4964-99DE-4EF7A7B24A8C}" type="pres">
      <dgm:prSet presAssocID="{C95E87F8-0B56-4106-A5C3-C6E212260590}" presName="Name9" presStyleLbl="parChTrans1D2" presStyleIdx="2" presStyleCnt="7"/>
      <dgm:spPr/>
      <dgm:t>
        <a:bodyPr/>
        <a:lstStyle/>
        <a:p>
          <a:endParaRPr lang="es-ES"/>
        </a:p>
      </dgm:t>
    </dgm:pt>
    <dgm:pt modelId="{8639E17D-98F8-4EC1-B7A6-39FB1B6ECB85}" type="pres">
      <dgm:prSet presAssocID="{C95E87F8-0B56-4106-A5C3-C6E212260590}" presName="connTx" presStyleLbl="parChTrans1D2" presStyleIdx="2" presStyleCnt="7"/>
      <dgm:spPr/>
      <dgm:t>
        <a:bodyPr/>
        <a:lstStyle/>
        <a:p>
          <a:endParaRPr lang="es-ES"/>
        </a:p>
      </dgm:t>
    </dgm:pt>
    <dgm:pt modelId="{14280865-8A84-435B-9F33-1E1ECFA63416}" type="pres">
      <dgm:prSet presAssocID="{ED5D343A-50D7-4166-B623-AAFB83CAFE87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36E509B-8FA6-419D-B9C8-984698CD0A26}" type="pres">
      <dgm:prSet presAssocID="{E0F6B8D4-A779-4D23-88D4-9B4B63332623}" presName="Name9" presStyleLbl="parChTrans1D2" presStyleIdx="3" presStyleCnt="7"/>
      <dgm:spPr/>
      <dgm:t>
        <a:bodyPr/>
        <a:lstStyle/>
        <a:p>
          <a:endParaRPr lang="es-ES"/>
        </a:p>
      </dgm:t>
    </dgm:pt>
    <dgm:pt modelId="{65FC903E-53AA-4E25-B36B-5EA895F1EC5A}" type="pres">
      <dgm:prSet presAssocID="{E0F6B8D4-A779-4D23-88D4-9B4B63332623}" presName="connTx" presStyleLbl="parChTrans1D2" presStyleIdx="3" presStyleCnt="7"/>
      <dgm:spPr/>
      <dgm:t>
        <a:bodyPr/>
        <a:lstStyle/>
        <a:p>
          <a:endParaRPr lang="es-ES"/>
        </a:p>
      </dgm:t>
    </dgm:pt>
    <dgm:pt modelId="{B9978B20-7229-4446-9310-DCBB600C3DFB}" type="pres">
      <dgm:prSet presAssocID="{5C1087D0-7995-4EAC-9693-6FE704FD7CEE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06BFF4B-FCA1-4807-9388-F4BCDC931BB5}" type="pres">
      <dgm:prSet presAssocID="{9572EA05-879B-4FD7-A526-C12205CE6A78}" presName="Name9" presStyleLbl="parChTrans1D2" presStyleIdx="4" presStyleCnt="7"/>
      <dgm:spPr/>
      <dgm:t>
        <a:bodyPr/>
        <a:lstStyle/>
        <a:p>
          <a:endParaRPr lang="es-ES"/>
        </a:p>
      </dgm:t>
    </dgm:pt>
    <dgm:pt modelId="{4DCCAE3F-602D-4249-B622-A77C18AE1A21}" type="pres">
      <dgm:prSet presAssocID="{9572EA05-879B-4FD7-A526-C12205CE6A78}" presName="connTx" presStyleLbl="parChTrans1D2" presStyleIdx="4" presStyleCnt="7"/>
      <dgm:spPr/>
      <dgm:t>
        <a:bodyPr/>
        <a:lstStyle/>
        <a:p>
          <a:endParaRPr lang="es-ES"/>
        </a:p>
      </dgm:t>
    </dgm:pt>
    <dgm:pt modelId="{2175368D-DC8B-43D7-8048-36076DA983F7}" type="pres">
      <dgm:prSet presAssocID="{476E1D70-6D0F-42F7-84E2-2EDCE3E7515C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47B5709-ABE9-4C26-A05E-BAB76A11DBF3}" type="pres">
      <dgm:prSet presAssocID="{08BC11C5-16F2-44FB-9658-497E848910C4}" presName="Name9" presStyleLbl="parChTrans1D2" presStyleIdx="5" presStyleCnt="7"/>
      <dgm:spPr/>
      <dgm:t>
        <a:bodyPr/>
        <a:lstStyle/>
        <a:p>
          <a:endParaRPr lang="es-ES"/>
        </a:p>
      </dgm:t>
    </dgm:pt>
    <dgm:pt modelId="{84DC46EF-920A-4E1C-9230-82B0DF3ACA2F}" type="pres">
      <dgm:prSet presAssocID="{08BC11C5-16F2-44FB-9658-497E848910C4}" presName="connTx" presStyleLbl="parChTrans1D2" presStyleIdx="5" presStyleCnt="7"/>
      <dgm:spPr/>
      <dgm:t>
        <a:bodyPr/>
        <a:lstStyle/>
        <a:p>
          <a:endParaRPr lang="es-ES"/>
        </a:p>
      </dgm:t>
    </dgm:pt>
    <dgm:pt modelId="{F55136CF-2514-4040-B788-407C459C9625}" type="pres">
      <dgm:prSet presAssocID="{BCEAF43C-DDD1-40F8-8AFB-39F64BE31FE4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338D4E1-CCE5-45B8-9DAF-558407E7729F}" type="pres">
      <dgm:prSet presAssocID="{CBAB07FB-570E-4553-8E29-63A12C7210F4}" presName="Name9" presStyleLbl="parChTrans1D2" presStyleIdx="6" presStyleCnt="7"/>
      <dgm:spPr/>
      <dgm:t>
        <a:bodyPr/>
        <a:lstStyle/>
        <a:p>
          <a:endParaRPr lang="es-ES"/>
        </a:p>
      </dgm:t>
    </dgm:pt>
    <dgm:pt modelId="{2635F652-68FD-475D-ABC1-9A11CE9A50D2}" type="pres">
      <dgm:prSet presAssocID="{CBAB07FB-570E-4553-8E29-63A12C7210F4}" presName="connTx" presStyleLbl="parChTrans1D2" presStyleIdx="6" presStyleCnt="7"/>
      <dgm:spPr/>
      <dgm:t>
        <a:bodyPr/>
        <a:lstStyle/>
        <a:p>
          <a:endParaRPr lang="es-ES"/>
        </a:p>
      </dgm:t>
    </dgm:pt>
    <dgm:pt modelId="{AA1367AD-C40A-46BF-8B16-58A257B8B9E6}" type="pres">
      <dgm:prSet presAssocID="{7B2847B9-1F22-429F-8E78-4D58DEFC0E72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1F94E95E-AF12-4334-BCFD-3EA187F46A53}" srcId="{63D57417-E1BD-4C6F-9ADB-6CE1C2604ABE}" destId="{BCEAF43C-DDD1-40F8-8AFB-39F64BE31FE4}" srcOrd="5" destOrd="0" parTransId="{08BC11C5-16F2-44FB-9658-497E848910C4}" sibTransId="{9DD0F9E9-6036-4221-B6BB-B98A05E8A03D}"/>
    <dgm:cxn modelId="{7B534BBF-F09F-4BB2-8D87-D0AA133BC7F0}" srcId="{63D57417-E1BD-4C6F-9ADB-6CE1C2604ABE}" destId="{ED5D343A-50D7-4166-B623-AAFB83CAFE87}" srcOrd="2" destOrd="0" parTransId="{C95E87F8-0B56-4106-A5C3-C6E212260590}" sibTransId="{55EFD30D-6EC5-4BB0-9163-1D04F7550985}"/>
    <dgm:cxn modelId="{F54B5634-43B3-4288-B9C2-A5E0FE4EF2FB}" type="presOf" srcId="{EF87BFFD-FAD3-4B24-8F1C-5DBBF50CF791}" destId="{8401B1E1-5B0E-48E3-B547-A4C7C3CE37FD}" srcOrd="1" destOrd="0" presId="urn:microsoft.com/office/officeart/2005/8/layout/radial1"/>
    <dgm:cxn modelId="{FE4406DF-566E-4416-9B0A-6BA3380AB676}" type="presOf" srcId="{3E7F65CE-A26B-4E15-BCFE-643F17003B62}" destId="{09B36F9D-6F1A-41A0-A152-BA3970A72328}" srcOrd="0" destOrd="0" presId="urn:microsoft.com/office/officeart/2005/8/layout/radial1"/>
    <dgm:cxn modelId="{416D7B45-822C-4D66-ADAE-0B08E699C5C0}" type="presOf" srcId="{63D57417-E1BD-4C6F-9ADB-6CE1C2604ABE}" destId="{D8D5A994-399F-42C2-B3A9-FC1933D6C588}" srcOrd="0" destOrd="0" presId="urn:microsoft.com/office/officeart/2005/8/layout/radial1"/>
    <dgm:cxn modelId="{D2A32C0A-D8F3-4C46-B4C1-EB9E322F50CD}" type="presOf" srcId="{BCEAF43C-DDD1-40F8-8AFB-39F64BE31FE4}" destId="{F55136CF-2514-4040-B788-407C459C9625}" srcOrd="0" destOrd="0" presId="urn:microsoft.com/office/officeart/2005/8/layout/radial1"/>
    <dgm:cxn modelId="{3EE20591-E892-4A53-A1F9-61D120C3C3E3}" srcId="{E85EE771-08F5-44AF-9E9F-0C92AFC55C1C}" destId="{63D57417-E1BD-4C6F-9ADB-6CE1C2604ABE}" srcOrd="0" destOrd="0" parTransId="{D3C0BF74-68E8-4CCA-A5AD-06393FCE6DA5}" sibTransId="{D8CC54CE-50AF-4547-BD24-FB9E6E1F8097}"/>
    <dgm:cxn modelId="{41636773-6CB3-40F0-B17E-A8E215318A75}" type="presOf" srcId="{725B5C28-4A72-40D8-93C9-D50ABE1873BE}" destId="{E14D4872-E027-4B27-903F-303BA92E4DD1}" srcOrd="0" destOrd="0" presId="urn:microsoft.com/office/officeart/2005/8/layout/radial1"/>
    <dgm:cxn modelId="{85A1A589-4147-4522-8218-E4EAB831BA17}" type="presOf" srcId="{5C1087D0-7995-4EAC-9693-6FE704FD7CEE}" destId="{B9978B20-7229-4446-9310-DCBB600C3DFB}" srcOrd="0" destOrd="0" presId="urn:microsoft.com/office/officeart/2005/8/layout/radial1"/>
    <dgm:cxn modelId="{F68210E3-7B57-452E-8646-9838104D65A2}" type="presOf" srcId="{9572EA05-879B-4FD7-A526-C12205CE6A78}" destId="{4DCCAE3F-602D-4249-B622-A77C18AE1A21}" srcOrd="1" destOrd="0" presId="urn:microsoft.com/office/officeart/2005/8/layout/radial1"/>
    <dgm:cxn modelId="{65C93178-75ED-47C9-8AB2-FF2214319BC5}" type="presOf" srcId="{ED5D343A-50D7-4166-B623-AAFB83CAFE87}" destId="{14280865-8A84-435B-9F33-1E1ECFA63416}" srcOrd="0" destOrd="0" presId="urn:microsoft.com/office/officeart/2005/8/layout/radial1"/>
    <dgm:cxn modelId="{87A15583-E07F-4FB3-B840-0FBD7D54008B}" type="presOf" srcId="{CBAB07FB-570E-4553-8E29-63A12C7210F4}" destId="{F338D4E1-CCE5-45B8-9DAF-558407E7729F}" srcOrd="0" destOrd="0" presId="urn:microsoft.com/office/officeart/2005/8/layout/radial1"/>
    <dgm:cxn modelId="{743FFF2D-9800-4517-9433-13D9C4718BCE}" srcId="{63D57417-E1BD-4C6F-9ADB-6CE1C2604ABE}" destId="{725B5C28-4A72-40D8-93C9-D50ABE1873BE}" srcOrd="0" destOrd="0" parTransId="{84E5EC24-BB01-46A5-A021-3B3AD0521B98}" sibTransId="{43C398A0-7DAE-408D-A184-995CD23F914F}"/>
    <dgm:cxn modelId="{9A6294D0-5C67-45ED-BCC8-3AE9DC2634CF}" type="presOf" srcId="{84E5EC24-BB01-46A5-A021-3B3AD0521B98}" destId="{3A3EC745-6DA8-496A-A22F-245E734014DE}" srcOrd="1" destOrd="0" presId="urn:microsoft.com/office/officeart/2005/8/layout/radial1"/>
    <dgm:cxn modelId="{7E442E84-F195-46B5-AC7D-6080D4EB7168}" type="presOf" srcId="{E85EE771-08F5-44AF-9E9F-0C92AFC55C1C}" destId="{336E4948-C6E3-47D4-A88D-7CEBC6554DF4}" srcOrd="0" destOrd="0" presId="urn:microsoft.com/office/officeart/2005/8/layout/radial1"/>
    <dgm:cxn modelId="{F54B3E78-128D-4C76-B372-77E7686A4119}" srcId="{63D57417-E1BD-4C6F-9ADB-6CE1C2604ABE}" destId="{3E7F65CE-A26B-4E15-BCFE-643F17003B62}" srcOrd="1" destOrd="0" parTransId="{EF87BFFD-FAD3-4B24-8F1C-5DBBF50CF791}" sibTransId="{08ABD9F2-5248-48CE-A646-45C2F267E892}"/>
    <dgm:cxn modelId="{A6402D8F-C03E-4C35-A1C3-875DFEB05527}" type="presOf" srcId="{E0F6B8D4-A779-4D23-88D4-9B4B63332623}" destId="{C36E509B-8FA6-419D-B9C8-984698CD0A26}" srcOrd="0" destOrd="0" presId="urn:microsoft.com/office/officeart/2005/8/layout/radial1"/>
    <dgm:cxn modelId="{7B16E831-EEA1-4C48-8BD2-88D9953ADA70}" type="presOf" srcId="{08BC11C5-16F2-44FB-9658-497E848910C4}" destId="{84DC46EF-920A-4E1C-9230-82B0DF3ACA2F}" srcOrd="1" destOrd="0" presId="urn:microsoft.com/office/officeart/2005/8/layout/radial1"/>
    <dgm:cxn modelId="{9BB9F347-C56C-43A3-858A-C054709A16EF}" type="presOf" srcId="{9572EA05-879B-4FD7-A526-C12205CE6A78}" destId="{906BFF4B-FCA1-4807-9388-F4BCDC931BB5}" srcOrd="0" destOrd="0" presId="urn:microsoft.com/office/officeart/2005/8/layout/radial1"/>
    <dgm:cxn modelId="{439A3017-AE8D-4A9D-9FB6-4D69CC662A3E}" type="presOf" srcId="{476E1D70-6D0F-42F7-84E2-2EDCE3E7515C}" destId="{2175368D-DC8B-43D7-8048-36076DA983F7}" srcOrd="0" destOrd="0" presId="urn:microsoft.com/office/officeart/2005/8/layout/radial1"/>
    <dgm:cxn modelId="{8B696C12-4921-4D34-818D-BFE855FDDA2C}" srcId="{63D57417-E1BD-4C6F-9ADB-6CE1C2604ABE}" destId="{5C1087D0-7995-4EAC-9693-6FE704FD7CEE}" srcOrd="3" destOrd="0" parTransId="{E0F6B8D4-A779-4D23-88D4-9B4B63332623}" sibTransId="{2FEAC069-14A8-4E08-8E79-8A2A8ED264A9}"/>
    <dgm:cxn modelId="{93D119BA-4658-4159-B746-C0D9BF598DEA}" type="presOf" srcId="{08BC11C5-16F2-44FB-9658-497E848910C4}" destId="{A47B5709-ABE9-4C26-A05E-BAB76A11DBF3}" srcOrd="0" destOrd="0" presId="urn:microsoft.com/office/officeart/2005/8/layout/radial1"/>
    <dgm:cxn modelId="{6C5103E4-232C-4281-B8E1-4D321BD7DC68}" type="presOf" srcId="{84E5EC24-BB01-46A5-A021-3B3AD0521B98}" destId="{378FE783-AE3E-452E-977C-F0D4759D1D56}" srcOrd="0" destOrd="0" presId="urn:microsoft.com/office/officeart/2005/8/layout/radial1"/>
    <dgm:cxn modelId="{F00CCDD4-62A8-4392-A124-33C8EA77998C}" type="presOf" srcId="{CBAB07FB-570E-4553-8E29-63A12C7210F4}" destId="{2635F652-68FD-475D-ABC1-9A11CE9A50D2}" srcOrd="1" destOrd="0" presId="urn:microsoft.com/office/officeart/2005/8/layout/radial1"/>
    <dgm:cxn modelId="{765AFE7B-4DD1-4341-9194-C36A3ACE67CC}" type="presOf" srcId="{EF87BFFD-FAD3-4B24-8F1C-5DBBF50CF791}" destId="{EFB97CF4-7857-4A97-8DB7-A20B572615A7}" srcOrd="0" destOrd="0" presId="urn:microsoft.com/office/officeart/2005/8/layout/radial1"/>
    <dgm:cxn modelId="{05723539-3999-4364-BE14-29C20087CAA3}" type="presOf" srcId="{7B2847B9-1F22-429F-8E78-4D58DEFC0E72}" destId="{AA1367AD-C40A-46BF-8B16-58A257B8B9E6}" srcOrd="0" destOrd="0" presId="urn:microsoft.com/office/officeart/2005/8/layout/radial1"/>
    <dgm:cxn modelId="{82C12BF7-BD1C-418F-AA49-E2D7FE7B75DD}" srcId="{63D57417-E1BD-4C6F-9ADB-6CE1C2604ABE}" destId="{476E1D70-6D0F-42F7-84E2-2EDCE3E7515C}" srcOrd="4" destOrd="0" parTransId="{9572EA05-879B-4FD7-A526-C12205CE6A78}" sibTransId="{7B92BD7C-B5B8-4A4C-9939-BAB5A5B4E87B}"/>
    <dgm:cxn modelId="{8D8E9189-D019-4342-AD2E-C365C0BEFBEC}" type="presOf" srcId="{E0F6B8D4-A779-4D23-88D4-9B4B63332623}" destId="{65FC903E-53AA-4E25-B36B-5EA895F1EC5A}" srcOrd="1" destOrd="0" presId="urn:microsoft.com/office/officeart/2005/8/layout/radial1"/>
    <dgm:cxn modelId="{61CD4791-0750-4993-A0B9-9459BC0F863A}" type="presOf" srcId="{C95E87F8-0B56-4106-A5C3-C6E212260590}" destId="{8639E17D-98F8-4EC1-B7A6-39FB1B6ECB85}" srcOrd="1" destOrd="0" presId="urn:microsoft.com/office/officeart/2005/8/layout/radial1"/>
    <dgm:cxn modelId="{C761A67C-B20C-4843-AA25-3FC8C4547B77}" type="presOf" srcId="{C95E87F8-0B56-4106-A5C3-C6E212260590}" destId="{C546513F-D2A8-4964-99DE-4EF7A7B24A8C}" srcOrd="0" destOrd="0" presId="urn:microsoft.com/office/officeart/2005/8/layout/radial1"/>
    <dgm:cxn modelId="{2F45500E-67EF-463B-A3E6-4D8A0F99E1FC}" srcId="{63D57417-E1BD-4C6F-9ADB-6CE1C2604ABE}" destId="{7B2847B9-1F22-429F-8E78-4D58DEFC0E72}" srcOrd="6" destOrd="0" parTransId="{CBAB07FB-570E-4553-8E29-63A12C7210F4}" sibTransId="{F3515252-E94A-4723-9D08-4D9A36532F5A}"/>
    <dgm:cxn modelId="{7DF56D2A-3751-431C-BF0A-343B76421D89}" type="presParOf" srcId="{336E4948-C6E3-47D4-A88D-7CEBC6554DF4}" destId="{D8D5A994-399F-42C2-B3A9-FC1933D6C588}" srcOrd="0" destOrd="0" presId="urn:microsoft.com/office/officeart/2005/8/layout/radial1"/>
    <dgm:cxn modelId="{634F0CB0-C658-4640-9115-A7ED3F05EDF3}" type="presParOf" srcId="{336E4948-C6E3-47D4-A88D-7CEBC6554DF4}" destId="{378FE783-AE3E-452E-977C-F0D4759D1D56}" srcOrd="1" destOrd="0" presId="urn:microsoft.com/office/officeart/2005/8/layout/radial1"/>
    <dgm:cxn modelId="{8283B3D5-CBF0-4713-AFFF-0A33A8A0E338}" type="presParOf" srcId="{378FE783-AE3E-452E-977C-F0D4759D1D56}" destId="{3A3EC745-6DA8-496A-A22F-245E734014DE}" srcOrd="0" destOrd="0" presId="urn:microsoft.com/office/officeart/2005/8/layout/radial1"/>
    <dgm:cxn modelId="{C6F7756D-CCEA-4558-B7A8-A6808DA13308}" type="presParOf" srcId="{336E4948-C6E3-47D4-A88D-7CEBC6554DF4}" destId="{E14D4872-E027-4B27-903F-303BA92E4DD1}" srcOrd="2" destOrd="0" presId="urn:microsoft.com/office/officeart/2005/8/layout/radial1"/>
    <dgm:cxn modelId="{DC86D9D7-5DC8-4D7E-8245-4F861ABFA50B}" type="presParOf" srcId="{336E4948-C6E3-47D4-A88D-7CEBC6554DF4}" destId="{EFB97CF4-7857-4A97-8DB7-A20B572615A7}" srcOrd="3" destOrd="0" presId="urn:microsoft.com/office/officeart/2005/8/layout/radial1"/>
    <dgm:cxn modelId="{3C4A0AFE-8051-474A-BB7C-4CF004763A6F}" type="presParOf" srcId="{EFB97CF4-7857-4A97-8DB7-A20B572615A7}" destId="{8401B1E1-5B0E-48E3-B547-A4C7C3CE37FD}" srcOrd="0" destOrd="0" presId="urn:microsoft.com/office/officeart/2005/8/layout/radial1"/>
    <dgm:cxn modelId="{388FF16F-FB67-4110-A8A0-2A239B1DE8DC}" type="presParOf" srcId="{336E4948-C6E3-47D4-A88D-7CEBC6554DF4}" destId="{09B36F9D-6F1A-41A0-A152-BA3970A72328}" srcOrd="4" destOrd="0" presId="urn:microsoft.com/office/officeart/2005/8/layout/radial1"/>
    <dgm:cxn modelId="{279D8DE9-3CDF-4941-9BB8-7A7D3D7B18D9}" type="presParOf" srcId="{336E4948-C6E3-47D4-A88D-7CEBC6554DF4}" destId="{C546513F-D2A8-4964-99DE-4EF7A7B24A8C}" srcOrd="5" destOrd="0" presId="urn:microsoft.com/office/officeart/2005/8/layout/radial1"/>
    <dgm:cxn modelId="{49B11E85-880D-4900-A572-4FF9E8838861}" type="presParOf" srcId="{C546513F-D2A8-4964-99DE-4EF7A7B24A8C}" destId="{8639E17D-98F8-4EC1-B7A6-39FB1B6ECB85}" srcOrd="0" destOrd="0" presId="urn:microsoft.com/office/officeart/2005/8/layout/radial1"/>
    <dgm:cxn modelId="{A9A386D8-75D8-4171-8C0B-BB80A4572C08}" type="presParOf" srcId="{336E4948-C6E3-47D4-A88D-7CEBC6554DF4}" destId="{14280865-8A84-435B-9F33-1E1ECFA63416}" srcOrd="6" destOrd="0" presId="urn:microsoft.com/office/officeart/2005/8/layout/radial1"/>
    <dgm:cxn modelId="{C5F6BB99-70E2-405A-B9C0-409843A5DB49}" type="presParOf" srcId="{336E4948-C6E3-47D4-A88D-7CEBC6554DF4}" destId="{C36E509B-8FA6-419D-B9C8-984698CD0A26}" srcOrd="7" destOrd="0" presId="urn:microsoft.com/office/officeart/2005/8/layout/radial1"/>
    <dgm:cxn modelId="{E3768627-7281-487D-8C1D-7359DDC528ED}" type="presParOf" srcId="{C36E509B-8FA6-419D-B9C8-984698CD0A26}" destId="{65FC903E-53AA-4E25-B36B-5EA895F1EC5A}" srcOrd="0" destOrd="0" presId="urn:microsoft.com/office/officeart/2005/8/layout/radial1"/>
    <dgm:cxn modelId="{DEA413B6-9D6F-4D97-BA89-6EB60B851DD3}" type="presParOf" srcId="{336E4948-C6E3-47D4-A88D-7CEBC6554DF4}" destId="{B9978B20-7229-4446-9310-DCBB600C3DFB}" srcOrd="8" destOrd="0" presId="urn:microsoft.com/office/officeart/2005/8/layout/radial1"/>
    <dgm:cxn modelId="{B3C9F282-1ED0-4C10-AC1F-1D6BCF4D7CE1}" type="presParOf" srcId="{336E4948-C6E3-47D4-A88D-7CEBC6554DF4}" destId="{906BFF4B-FCA1-4807-9388-F4BCDC931BB5}" srcOrd="9" destOrd="0" presId="urn:microsoft.com/office/officeart/2005/8/layout/radial1"/>
    <dgm:cxn modelId="{ECA23DE1-EBCC-4291-9176-5DB84B79CC28}" type="presParOf" srcId="{906BFF4B-FCA1-4807-9388-F4BCDC931BB5}" destId="{4DCCAE3F-602D-4249-B622-A77C18AE1A21}" srcOrd="0" destOrd="0" presId="urn:microsoft.com/office/officeart/2005/8/layout/radial1"/>
    <dgm:cxn modelId="{13E25873-B1CE-45CB-9832-4EFDE164E038}" type="presParOf" srcId="{336E4948-C6E3-47D4-A88D-7CEBC6554DF4}" destId="{2175368D-DC8B-43D7-8048-36076DA983F7}" srcOrd="10" destOrd="0" presId="urn:microsoft.com/office/officeart/2005/8/layout/radial1"/>
    <dgm:cxn modelId="{24F27FC8-5EB1-49F4-807A-B9DF2EFBB0D6}" type="presParOf" srcId="{336E4948-C6E3-47D4-A88D-7CEBC6554DF4}" destId="{A47B5709-ABE9-4C26-A05E-BAB76A11DBF3}" srcOrd="11" destOrd="0" presId="urn:microsoft.com/office/officeart/2005/8/layout/radial1"/>
    <dgm:cxn modelId="{C7A9E6BF-E257-463E-9BC6-6089A336C4E3}" type="presParOf" srcId="{A47B5709-ABE9-4C26-A05E-BAB76A11DBF3}" destId="{84DC46EF-920A-4E1C-9230-82B0DF3ACA2F}" srcOrd="0" destOrd="0" presId="urn:microsoft.com/office/officeart/2005/8/layout/radial1"/>
    <dgm:cxn modelId="{A3A32C17-5A8F-474E-846C-CEF54CBA99ED}" type="presParOf" srcId="{336E4948-C6E3-47D4-A88D-7CEBC6554DF4}" destId="{F55136CF-2514-4040-B788-407C459C9625}" srcOrd="12" destOrd="0" presId="urn:microsoft.com/office/officeart/2005/8/layout/radial1"/>
    <dgm:cxn modelId="{D9C9946F-86B1-44F8-AA86-1C70F209EEA6}" type="presParOf" srcId="{336E4948-C6E3-47D4-A88D-7CEBC6554DF4}" destId="{F338D4E1-CCE5-45B8-9DAF-558407E7729F}" srcOrd="13" destOrd="0" presId="urn:microsoft.com/office/officeart/2005/8/layout/radial1"/>
    <dgm:cxn modelId="{86EBA84D-8BED-46AB-AB2A-144170FF3620}" type="presParOf" srcId="{F338D4E1-CCE5-45B8-9DAF-558407E7729F}" destId="{2635F652-68FD-475D-ABC1-9A11CE9A50D2}" srcOrd="0" destOrd="0" presId="urn:microsoft.com/office/officeart/2005/8/layout/radial1"/>
    <dgm:cxn modelId="{1CC3AF75-F3C8-4790-84F5-5BABE7E0A361}" type="presParOf" srcId="{336E4948-C6E3-47D4-A88D-7CEBC6554DF4}" destId="{AA1367AD-C40A-46BF-8B16-58A257B8B9E6}" srcOrd="14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7DBED64-7392-464F-822F-F1F8E8FB10A2}" type="doc">
      <dgm:prSet loTypeId="urn:microsoft.com/office/officeart/2005/8/layout/orgChart1" loCatId="hierarchy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s-CO"/>
        </a:p>
      </dgm:t>
    </dgm:pt>
    <dgm:pt modelId="{A86C71EA-5671-46B4-A9A4-44DD198AC0DB}">
      <dgm:prSet phldrT="[Text]"/>
      <dgm:spPr>
        <a:solidFill>
          <a:schemeClr val="accent1">
            <a:lumMod val="25000"/>
          </a:schemeClr>
        </a:solidFill>
        <a:ln>
          <a:noFill/>
        </a:ln>
      </dgm:spPr>
      <dgm:t>
        <a:bodyPr/>
        <a:lstStyle/>
        <a:p>
          <a:pPr algn="ctr"/>
          <a:r>
            <a:rPr lang="es-CO" dirty="0" smtClean="0"/>
            <a:t>Sub gerente de Infraestructura y Networking / Centro de Cómputo</a:t>
          </a:r>
          <a:endParaRPr lang="es-CO" dirty="0"/>
        </a:p>
      </dgm:t>
    </dgm:pt>
    <dgm:pt modelId="{3CFEEE81-E8FD-4FCD-93FC-923D73B73CBF}" type="parTrans" cxnId="{00C533B9-F798-4DCE-847C-A22A2D03BDD5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CO" dirty="0"/>
        </a:p>
      </dgm:t>
    </dgm:pt>
    <dgm:pt modelId="{163C53DF-1B88-4152-9EA2-69BC740B6CD1}" type="sibTrans" cxnId="{00C533B9-F798-4DCE-847C-A22A2D03BDD5}">
      <dgm:prSet/>
      <dgm:spPr/>
      <dgm:t>
        <a:bodyPr/>
        <a:lstStyle/>
        <a:p>
          <a:pPr algn="ctr"/>
          <a:endParaRPr lang="es-CO"/>
        </a:p>
      </dgm:t>
    </dgm:pt>
    <dgm:pt modelId="{3A03BADF-6CCB-43C6-A092-2955E91209BA}">
      <dgm:prSet phldrT="[Text]"/>
      <dgm:spPr>
        <a:solidFill>
          <a:schemeClr val="accent1">
            <a:lumMod val="50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Jefe de </a:t>
          </a:r>
        </a:p>
        <a:p>
          <a:pPr algn="ctr"/>
          <a:r>
            <a:rPr lang="es-CO" b="1" dirty="0" smtClean="0">
              <a:solidFill>
                <a:schemeClr val="bg1"/>
              </a:solidFill>
            </a:rPr>
            <a:t>Servidores y </a:t>
          </a:r>
        </a:p>
        <a:p>
          <a:pPr algn="ctr"/>
          <a:r>
            <a:rPr lang="es-CO" b="1" dirty="0" smtClean="0">
              <a:solidFill>
                <a:schemeClr val="bg1"/>
              </a:solidFill>
            </a:rPr>
            <a:t>Admón. de Datos</a:t>
          </a:r>
          <a:endParaRPr lang="es-CO" b="1" dirty="0">
            <a:solidFill>
              <a:schemeClr val="bg1"/>
            </a:solidFill>
          </a:endParaRPr>
        </a:p>
      </dgm:t>
    </dgm:pt>
    <dgm:pt modelId="{40D61938-5CBF-407C-97EF-399C0781B178}" type="parTrans" cxnId="{959C195D-728D-4DC2-B496-AD3271DDA75A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CO" dirty="0"/>
        </a:p>
      </dgm:t>
    </dgm:pt>
    <dgm:pt modelId="{17439CDE-9359-4B7D-9642-0250001A383C}" type="sibTrans" cxnId="{959C195D-728D-4DC2-B496-AD3271DDA75A}">
      <dgm:prSet/>
      <dgm:spPr/>
      <dgm:t>
        <a:bodyPr/>
        <a:lstStyle/>
        <a:p>
          <a:pPr algn="ctr"/>
          <a:endParaRPr lang="es-CO"/>
        </a:p>
      </dgm:t>
    </dgm:pt>
    <dgm:pt modelId="{29D0AD0F-C607-4E24-84B2-06D56C2A79F3}">
      <dgm:prSet phldrT="[Text]"/>
      <dgm:spPr>
        <a:solidFill>
          <a:schemeClr val="accent1">
            <a:lumMod val="50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Jefe de Redes y Comunicaciones</a:t>
          </a:r>
          <a:endParaRPr lang="es-CO" b="1" dirty="0">
            <a:solidFill>
              <a:schemeClr val="bg1"/>
            </a:solidFill>
          </a:endParaRPr>
        </a:p>
      </dgm:t>
    </dgm:pt>
    <dgm:pt modelId="{895BBA9E-995E-437E-B623-4E6CB016DCF6}" type="parTrans" cxnId="{7BE7ADEB-9291-4C8D-87F3-8FB90CD72F5E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CO" dirty="0"/>
        </a:p>
      </dgm:t>
    </dgm:pt>
    <dgm:pt modelId="{F7DD371E-2591-4262-A9C3-6631242F16D5}" type="sibTrans" cxnId="{7BE7ADEB-9291-4C8D-87F3-8FB90CD72F5E}">
      <dgm:prSet/>
      <dgm:spPr/>
      <dgm:t>
        <a:bodyPr/>
        <a:lstStyle/>
        <a:p>
          <a:pPr algn="ctr"/>
          <a:endParaRPr lang="es-CO"/>
        </a:p>
      </dgm:t>
    </dgm:pt>
    <dgm:pt modelId="{1C240F20-5AC7-4FB3-A766-BBF0DCFF63DF}">
      <dgm:prSet phldrT="[Text]"/>
      <dgm:spPr>
        <a:solidFill>
          <a:schemeClr val="accent1">
            <a:lumMod val="25000"/>
          </a:schemeClr>
        </a:solidFill>
        <a:ln>
          <a:noFill/>
        </a:ln>
      </dgm:spPr>
      <dgm:t>
        <a:bodyPr/>
        <a:lstStyle/>
        <a:p>
          <a:pPr algn="ctr"/>
          <a:r>
            <a:rPr lang="es-CO" dirty="0" smtClean="0"/>
            <a:t>Sub gerente de Infraestructura y Networking </a:t>
          </a:r>
        </a:p>
        <a:p>
          <a:pPr algn="ctr"/>
          <a:r>
            <a:rPr lang="es-CO" dirty="0" smtClean="0"/>
            <a:t>Regional Guayaquil</a:t>
          </a:r>
          <a:endParaRPr lang="es-CO" dirty="0"/>
        </a:p>
      </dgm:t>
    </dgm:pt>
    <dgm:pt modelId="{1AA01950-6A79-4A12-9E5B-553E9DAC71E6}" type="parTrans" cxnId="{476072C3-D20B-4DD0-8BBD-17689CB36CAF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CO" dirty="0"/>
        </a:p>
      </dgm:t>
    </dgm:pt>
    <dgm:pt modelId="{0D400103-4965-4FD3-8BFF-39E85F122989}" type="sibTrans" cxnId="{476072C3-D20B-4DD0-8BBD-17689CB36CAF}">
      <dgm:prSet/>
      <dgm:spPr/>
      <dgm:t>
        <a:bodyPr/>
        <a:lstStyle/>
        <a:p>
          <a:pPr algn="ctr"/>
          <a:endParaRPr lang="es-CO"/>
        </a:p>
      </dgm:t>
    </dgm:pt>
    <dgm:pt modelId="{DCAF94E9-D4E4-49A2-8A28-A02B5F1A1AA0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Administrador de  </a:t>
          </a:r>
        </a:p>
        <a:p>
          <a:pPr algn="ctr"/>
          <a:r>
            <a:rPr lang="es-CO" b="1" dirty="0" smtClean="0">
              <a:solidFill>
                <a:schemeClr val="bg1"/>
              </a:solidFill>
            </a:rPr>
            <a:t>Redes (1)</a:t>
          </a:r>
          <a:endParaRPr lang="es-CO" b="1" dirty="0">
            <a:solidFill>
              <a:schemeClr val="bg1"/>
            </a:solidFill>
          </a:endParaRPr>
        </a:p>
      </dgm:t>
    </dgm:pt>
    <dgm:pt modelId="{3A41EAD6-3AA1-4568-A3C6-6887820ABDDC}" type="parTrans" cxnId="{891DC616-AE6E-4CAC-8A89-1B9CDDEEA363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CO" dirty="0"/>
        </a:p>
      </dgm:t>
    </dgm:pt>
    <dgm:pt modelId="{AF26912B-13A7-41B1-A7B2-2B2D00A7B50D}" type="sibTrans" cxnId="{891DC616-AE6E-4CAC-8A89-1B9CDDEEA363}">
      <dgm:prSet/>
      <dgm:spPr/>
      <dgm:t>
        <a:bodyPr/>
        <a:lstStyle/>
        <a:p>
          <a:pPr algn="ctr"/>
          <a:endParaRPr lang="es-CO"/>
        </a:p>
      </dgm:t>
    </dgm:pt>
    <dgm:pt modelId="{2BA6616A-E4ED-4D8F-8E7B-B4A7C4010591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ES" b="1" dirty="0" smtClean="0">
              <a:solidFill>
                <a:schemeClr val="bg1"/>
              </a:solidFill>
            </a:rPr>
            <a:t>Administrador</a:t>
          </a:r>
        </a:p>
        <a:p>
          <a:pPr algn="ctr"/>
          <a:r>
            <a:rPr lang="es-ES" b="1" dirty="0" smtClean="0">
              <a:solidFill>
                <a:schemeClr val="bg1"/>
              </a:solidFill>
            </a:rPr>
            <a:t>de Servidores (1</a:t>
          </a:r>
          <a:r>
            <a:rPr lang="es-CO" b="1" dirty="0" smtClean="0">
              <a:solidFill>
                <a:schemeClr val="bg1"/>
              </a:solidFill>
            </a:rPr>
            <a:t>)</a:t>
          </a:r>
          <a:endParaRPr lang="es-CO" b="1" dirty="0">
            <a:solidFill>
              <a:schemeClr val="bg1"/>
            </a:solidFill>
          </a:endParaRPr>
        </a:p>
      </dgm:t>
    </dgm:pt>
    <dgm:pt modelId="{5E14C847-8F60-498E-8CAC-93D0939EE473}" type="parTrans" cxnId="{E04FFA74-8528-4522-B52B-E1C53313B242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CO" dirty="0"/>
        </a:p>
      </dgm:t>
    </dgm:pt>
    <dgm:pt modelId="{90187D6F-11B2-4319-A2E5-464EA474EC6E}" type="sibTrans" cxnId="{E04FFA74-8528-4522-B52B-E1C53313B242}">
      <dgm:prSet/>
      <dgm:spPr/>
      <dgm:t>
        <a:bodyPr/>
        <a:lstStyle/>
        <a:p>
          <a:pPr algn="ctr"/>
          <a:endParaRPr lang="es-CO"/>
        </a:p>
      </dgm:t>
    </dgm:pt>
    <dgm:pt modelId="{421D9C09-DAD4-45A8-8E19-23F3E22AEDD0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ES" b="1" dirty="0" smtClean="0">
              <a:solidFill>
                <a:schemeClr val="bg1"/>
              </a:solidFill>
            </a:rPr>
            <a:t>Administrador de  </a:t>
          </a:r>
        </a:p>
        <a:p>
          <a:pPr algn="ctr"/>
          <a:r>
            <a:rPr lang="es-ES" b="1" dirty="0" smtClean="0">
              <a:solidFill>
                <a:schemeClr val="bg1"/>
              </a:solidFill>
            </a:rPr>
            <a:t>Redes (1)</a:t>
          </a:r>
        </a:p>
      </dgm:t>
    </dgm:pt>
    <dgm:pt modelId="{E147513A-95C6-4D8E-80C9-26C716D20FEA}" type="parTrans" cxnId="{25584B73-FFC0-47B1-A7FA-9976A854B697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CO" dirty="0"/>
        </a:p>
      </dgm:t>
    </dgm:pt>
    <dgm:pt modelId="{8DBD1B34-5FB2-4FAC-9215-E86567390752}" type="sibTrans" cxnId="{25584B73-FFC0-47B1-A7FA-9976A854B697}">
      <dgm:prSet/>
      <dgm:spPr/>
      <dgm:t>
        <a:bodyPr/>
        <a:lstStyle/>
        <a:p>
          <a:pPr algn="ctr"/>
          <a:endParaRPr lang="es-CO"/>
        </a:p>
      </dgm:t>
    </dgm:pt>
    <dgm:pt modelId="{1F7E272D-2874-4AB6-A8C2-763D9CF5E63F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Analista de Segunda Línea (1)</a:t>
          </a:r>
          <a:endParaRPr lang="es-CO" b="1" dirty="0">
            <a:solidFill>
              <a:schemeClr val="bg1"/>
            </a:solidFill>
          </a:endParaRPr>
        </a:p>
      </dgm:t>
    </dgm:pt>
    <dgm:pt modelId="{69BFE459-F03E-4378-A227-8A68C95F2D42}" type="parTrans" cxnId="{08E94173-9C01-4AEA-96CE-8A4A854DFD55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CO" dirty="0"/>
        </a:p>
      </dgm:t>
    </dgm:pt>
    <dgm:pt modelId="{95E7A8EC-4DD3-4E6E-9667-632817820117}" type="sibTrans" cxnId="{08E94173-9C01-4AEA-96CE-8A4A854DFD55}">
      <dgm:prSet/>
      <dgm:spPr/>
      <dgm:t>
        <a:bodyPr/>
        <a:lstStyle/>
        <a:p>
          <a:pPr algn="ctr"/>
          <a:endParaRPr lang="es-CO"/>
        </a:p>
      </dgm:t>
    </dgm:pt>
    <dgm:pt modelId="{2E4921BC-8EF5-4555-9B83-B10149059FC0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Administrador</a:t>
          </a:r>
        </a:p>
        <a:p>
          <a:pPr algn="ctr"/>
          <a:r>
            <a:rPr lang="es-CO" b="1" dirty="0" smtClean="0">
              <a:solidFill>
                <a:schemeClr val="bg1"/>
              </a:solidFill>
            </a:rPr>
            <a:t>de Servidores (3)</a:t>
          </a:r>
          <a:endParaRPr lang="es-CO" b="1" dirty="0">
            <a:solidFill>
              <a:schemeClr val="bg1"/>
            </a:solidFill>
          </a:endParaRPr>
        </a:p>
      </dgm:t>
    </dgm:pt>
    <dgm:pt modelId="{CD60E979-A548-4F73-9D5E-B934FEF0B4AA}" type="parTrans" cxnId="{9A3AB66F-854A-454F-8216-70FB3BDE386E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>
        <a:ln/>
      </dgm:spPr>
      <dgm:t>
        <a:bodyPr/>
        <a:lstStyle/>
        <a:p>
          <a:pPr algn="ctr"/>
          <a:endParaRPr lang="es-CO" dirty="0"/>
        </a:p>
      </dgm:t>
    </dgm:pt>
    <dgm:pt modelId="{5B77C5B4-CFC2-435D-A3A4-2061E8E1F855}" type="sibTrans" cxnId="{9A3AB66F-854A-454F-8216-70FB3BDE386E}">
      <dgm:prSet/>
      <dgm:spPr/>
      <dgm:t>
        <a:bodyPr/>
        <a:lstStyle/>
        <a:p>
          <a:pPr algn="ctr"/>
          <a:endParaRPr lang="es-CO"/>
        </a:p>
      </dgm:t>
    </dgm:pt>
    <dgm:pt modelId="{121CD71E-366F-411B-83EC-DA6DB0182775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Administrador de</a:t>
          </a:r>
        </a:p>
        <a:p>
          <a:pPr algn="ctr"/>
          <a:r>
            <a:rPr lang="es-CO" b="1" dirty="0" smtClean="0">
              <a:solidFill>
                <a:schemeClr val="bg1"/>
              </a:solidFill>
            </a:rPr>
            <a:t>Datos (2)</a:t>
          </a:r>
          <a:endParaRPr lang="es-CO" b="1" dirty="0">
            <a:solidFill>
              <a:schemeClr val="bg1"/>
            </a:solidFill>
          </a:endParaRPr>
        </a:p>
      </dgm:t>
    </dgm:pt>
    <dgm:pt modelId="{371B5A76-FFF9-41F1-8115-158F48393E50}" type="parTrans" cxnId="{3C37B3D4-0F7A-42B1-80A3-636BD7EDFB67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>
        <a:ln/>
      </dgm:spPr>
      <dgm:t>
        <a:bodyPr/>
        <a:lstStyle/>
        <a:p>
          <a:pPr algn="ctr"/>
          <a:endParaRPr lang="es-CO" dirty="0"/>
        </a:p>
      </dgm:t>
    </dgm:pt>
    <dgm:pt modelId="{4A47122C-A4C5-48A1-9882-9E0485549AD5}" type="sibTrans" cxnId="{3C37B3D4-0F7A-42B1-80A3-636BD7EDFB67}">
      <dgm:prSet/>
      <dgm:spPr/>
      <dgm:t>
        <a:bodyPr/>
        <a:lstStyle/>
        <a:p>
          <a:pPr algn="ctr"/>
          <a:endParaRPr lang="es-CO"/>
        </a:p>
      </dgm:t>
    </dgm:pt>
    <dgm:pt modelId="{053D5199-298E-4085-830B-26E831455299}">
      <dgm:prSet phldrT="[Text]"/>
      <dgm:spPr>
        <a:solidFill>
          <a:schemeClr val="accent1">
            <a:lumMod val="25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Sub gerente </a:t>
          </a:r>
        </a:p>
        <a:p>
          <a:pPr algn="ctr"/>
          <a:r>
            <a:rPr lang="es-CO" b="1" dirty="0" smtClean="0">
              <a:solidFill>
                <a:schemeClr val="bg1"/>
              </a:solidFill>
            </a:rPr>
            <a:t>de la Mesa de Servicio</a:t>
          </a:r>
          <a:endParaRPr lang="es-CO" b="1" dirty="0">
            <a:solidFill>
              <a:schemeClr val="bg1"/>
            </a:solidFill>
          </a:endParaRPr>
        </a:p>
      </dgm:t>
    </dgm:pt>
    <dgm:pt modelId="{E8DB6BB2-3C54-41E5-B4CA-9AB896B61686}" type="parTrans" cxnId="{C72A8A4C-30C1-4B8A-9EB7-D7E7A24E8E19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EC" dirty="0"/>
        </a:p>
      </dgm:t>
    </dgm:pt>
    <dgm:pt modelId="{BFFA31A6-0612-4C3A-A305-1387660F6184}" type="sibTrans" cxnId="{C72A8A4C-30C1-4B8A-9EB7-D7E7A24E8E19}">
      <dgm:prSet/>
      <dgm:spPr/>
      <dgm:t>
        <a:bodyPr/>
        <a:lstStyle/>
        <a:p>
          <a:pPr algn="ctr"/>
          <a:endParaRPr lang="es-EC"/>
        </a:p>
      </dgm:t>
    </dgm:pt>
    <dgm:pt modelId="{7A4CE0E5-AE29-472D-98D6-53E5DF681308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Analista de Segunda Línea  (5)</a:t>
          </a:r>
        </a:p>
      </dgm:t>
    </dgm:pt>
    <dgm:pt modelId="{23B6031A-E46E-43DF-9B5D-74E0819450C6}" type="parTrans" cxnId="{320C41C4-A74E-43FD-8E66-82089B6BB25C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EC" dirty="0"/>
        </a:p>
      </dgm:t>
    </dgm:pt>
    <dgm:pt modelId="{9405A829-CC99-4D20-A269-A6596022B52E}" type="sibTrans" cxnId="{320C41C4-A74E-43FD-8E66-82089B6BB25C}">
      <dgm:prSet/>
      <dgm:spPr/>
      <dgm:t>
        <a:bodyPr/>
        <a:lstStyle/>
        <a:p>
          <a:pPr algn="ctr"/>
          <a:endParaRPr lang="es-EC"/>
        </a:p>
      </dgm:t>
    </dgm:pt>
    <dgm:pt modelId="{8706AA91-F2D2-4A2C-88B9-525DC9F356F4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Analista del  Conocimiento (1)</a:t>
          </a:r>
          <a:endParaRPr lang="es-CO" b="1" dirty="0">
            <a:solidFill>
              <a:schemeClr val="bg1"/>
            </a:solidFill>
          </a:endParaRPr>
        </a:p>
      </dgm:t>
    </dgm:pt>
    <dgm:pt modelId="{CD4FB902-6B53-4565-AFDB-632C5C6971B7}" type="parTrans" cxnId="{C49A2F01-B169-457E-8B08-9F96E48099F6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EC" dirty="0"/>
        </a:p>
      </dgm:t>
    </dgm:pt>
    <dgm:pt modelId="{4FC1A8EC-95D4-4406-BBF9-CD00EAF19940}" type="sibTrans" cxnId="{C49A2F01-B169-457E-8B08-9F96E48099F6}">
      <dgm:prSet/>
      <dgm:spPr/>
      <dgm:t>
        <a:bodyPr/>
        <a:lstStyle/>
        <a:p>
          <a:pPr algn="ctr"/>
          <a:endParaRPr lang="es-EC"/>
        </a:p>
      </dgm:t>
    </dgm:pt>
    <dgm:pt modelId="{312C5781-2657-4390-B069-9705FB614D5D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Técnico de Soporte </a:t>
          </a:r>
        </a:p>
        <a:p>
          <a:pPr algn="ctr"/>
          <a:r>
            <a:rPr lang="es-CO" b="1" dirty="0" smtClean="0">
              <a:solidFill>
                <a:schemeClr val="bg1"/>
              </a:solidFill>
            </a:rPr>
            <a:t>en Sitio (2)</a:t>
          </a:r>
          <a:endParaRPr lang="es-CO" b="1" dirty="0">
            <a:solidFill>
              <a:schemeClr val="bg1"/>
            </a:solidFill>
          </a:endParaRPr>
        </a:p>
      </dgm:t>
    </dgm:pt>
    <dgm:pt modelId="{DF98CFA3-A41A-42BC-8B58-313CE3EBF66F}" type="sibTrans" cxnId="{EA9269BC-41E3-4ED7-BB01-85A13C0CBC10}">
      <dgm:prSet/>
      <dgm:spPr/>
      <dgm:t>
        <a:bodyPr/>
        <a:lstStyle/>
        <a:p>
          <a:pPr algn="ctr"/>
          <a:endParaRPr lang="es-CO"/>
        </a:p>
      </dgm:t>
    </dgm:pt>
    <dgm:pt modelId="{74B7F445-A039-4069-AC5A-4407ED4549FF}" type="parTrans" cxnId="{EA9269BC-41E3-4ED7-BB01-85A13C0CBC10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CO" dirty="0"/>
        </a:p>
      </dgm:t>
    </dgm:pt>
    <dgm:pt modelId="{650C56BF-EA07-4044-A270-4C757F618744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Técnico de  </a:t>
          </a:r>
        </a:p>
        <a:p>
          <a:pPr algn="ctr"/>
          <a:r>
            <a:rPr lang="es-CO" b="1" dirty="0" smtClean="0">
              <a:solidFill>
                <a:schemeClr val="bg1"/>
              </a:solidFill>
            </a:rPr>
            <a:t>telefonía(1)</a:t>
          </a:r>
          <a:endParaRPr lang="es-CO" b="1" dirty="0">
            <a:solidFill>
              <a:schemeClr val="bg1"/>
            </a:solidFill>
          </a:endParaRPr>
        </a:p>
      </dgm:t>
    </dgm:pt>
    <dgm:pt modelId="{D3ACE48C-1367-44EF-998B-72D79DDDBADC}" type="parTrans" cxnId="{39165E2C-BBF8-4FE3-9365-EF44F616CEB7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EC" dirty="0"/>
        </a:p>
      </dgm:t>
    </dgm:pt>
    <dgm:pt modelId="{B02C743A-E20B-49CA-9961-755CDEA9E335}" type="sibTrans" cxnId="{39165E2C-BBF8-4FE3-9365-EF44F616CEB7}">
      <dgm:prSet/>
      <dgm:spPr/>
      <dgm:t>
        <a:bodyPr/>
        <a:lstStyle/>
        <a:p>
          <a:pPr algn="ctr"/>
          <a:endParaRPr lang="es-EC"/>
        </a:p>
      </dgm:t>
    </dgm:pt>
    <dgm:pt modelId="{301A1366-CADE-4D06-AC17-8E70961526AA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Administrador de  </a:t>
          </a:r>
        </a:p>
        <a:p>
          <a:pPr algn="ctr"/>
          <a:r>
            <a:rPr lang="es-CO" b="1" dirty="0" smtClean="0">
              <a:solidFill>
                <a:schemeClr val="bg1"/>
              </a:solidFill>
            </a:rPr>
            <a:t>Comunicaciones (1)</a:t>
          </a:r>
          <a:endParaRPr lang="es-CO" b="1" dirty="0">
            <a:solidFill>
              <a:schemeClr val="bg1"/>
            </a:solidFill>
          </a:endParaRPr>
        </a:p>
      </dgm:t>
    </dgm:pt>
    <dgm:pt modelId="{E25FA487-D382-410A-915D-6B02DDBE3214}" type="parTrans" cxnId="{1418E9AF-DB12-41BB-8622-46AA60877508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EC" dirty="0"/>
        </a:p>
      </dgm:t>
    </dgm:pt>
    <dgm:pt modelId="{4680F7EA-36EB-4598-AD4E-35D553569790}" type="sibTrans" cxnId="{1418E9AF-DB12-41BB-8622-46AA60877508}">
      <dgm:prSet/>
      <dgm:spPr/>
      <dgm:t>
        <a:bodyPr/>
        <a:lstStyle/>
        <a:p>
          <a:pPr algn="ctr"/>
          <a:endParaRPr lang="es-EC"/>
        </a:p>
      </dgm:t>
    </dgm:pt>
    <dgm:pt modelId="{0285C9EE-55DF-40F2-A4C1-C2A372DF007E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Administrador de Aplicaciones Web (2)</a:t>
          </a:r>
          <a:endParaRPr lang="es-CO" b="1" dirty="0">
            <a:solidFill>
              <a:schemeClr val="bg1"/>
            </a:solidFill>
          </a:endParaRPr>
        </a:p>
      </dgm:t>
    </dgm:pt>
    <dgm:pt modelId="{A0538E5B-3F1C-4877-B1B4-8EACFA0D6F91}" type="parTrans" cxnId="{2E5BA519-8E3D-4967-818A-B0DBDD65A0FD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EC" dirty="0"/>
        </a:p>
      </dgm:t>
    </dgm:pt>
    <dgm:pt modelId="{C6539845-91EE-4677-A504-A764B9720BE3}" type="sibTrans" cxnId="{2E5BA519-8E3D-4967-818A-B0DBDD65A0FD}">
      <dgm:prSet/>
      <dgm:spPr/>
      <dgm:t>
        <a:bodyPr/>
        <a:lstStyle/>
        <a:p>
          <a:pPr algn="ctr"/>
          <a:endParaRPr lang="es-EC"/>
        </a:p>
      </dgm:t>
    </dgm:pt>
    <dgm:pt modelId="{E875FE67-F02A-4D37-BED5-C189EBFBFB88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Técnico de Servicio Técnico (2)</a:t>
          </a:r>
          <a:endParaRPr lang="es-CO" b="1" dirty="0">
            <a:solidFill>
              <a:schemeClr val="bg1"/>
            </a:solidFill>
          </a:endParaRPr>
        </a:p>
      </dgm:t>
    </dgm:pt>
    <dgm:pt modelId="{12ECF636-FCEC-4E3C-8CF7-3BBA44A36317}" type="parTrans" cxnId="{25274557-78A8-485C-9E9C-C7892DA464F0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EC" dirty="0"/>
        </a:p>
      </dgm:t>
    </dgm:pt>
    <dgm:pt modelId="{31E1DB44-4393-4038-AE32-219911F2C4FD}" type="sibTrans" cxnId="{25274557-78A8-485C-9E9C-C7892DA464F0}">
      <dgm:prSet/>
      <dgm:spPr/>
      <dgm:t>
        <a:bodyPr/>
        <a:lstStyle/>
        <a:p>
          <a:pPr algn="ctr"/>
          <a:endParaRPr lang="es-EC"/>
        </a:p>
      </dgm:t>
    </dgm:pt>
    <dgm:pt modelId="{EA81A339-9DA4-4ED1-A691-9023FBAB6CDA}">
      <dgm:prSet phldrT="[Text]"/>
      <dgm:spPr>
        <a:solidFill>
          <a:schemeClr val="accent1">
            <a:lumMod val="50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Jefe de</a:t>
          </a:r>
        </a:p>
        <a:p>
          <a:pPr algn="ctr"/>
          <a:r>
            <a:rPr lang="es-CO" b="1" dirty="0" smtClean="0">
              <a:solidFill>
                <a:schemeClr val="bg1"/>
              </a:solidFill>
            </a:rPr>
            <a:t> Servicio Técnico</a:t>
          </a:r>
          <a:endParaRPr lang="es-CO" b="1" dirty="0">
            <a:solidFill>
              <a:schemeClr val="bg1"/>
            </a:solidFill>
          </a:endParaRPr>
        </a:p>
      </dgm:t>
    </dgm:pt>
    <dgm:pt modelId="{94133B10-F41E-4B1F-B66A-7E48A23056C8}" type="parTrans" cxnId="{B3EF3BE4-4E5B-453B-ABCA-CB7B3DC64D1A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EC"/>
        </a:p>
      </dgm:t>
    </dgm:pt>
    <dgm:pt modelId="{CC2D44F9-9D5F-446D-9C35-C1F9681B9527}" type="sibTrans" cxnId="{B3EF3BE4-4E5B-453B-ABCA-CB7B3DC64D1A}">
      <dgm:prSet/>
      <dgm:spPr/>
      <dgm:t>
        <a:bodyPr/>
        <a:lstStyle/>
        <a:p>
          <a:pPr algn="ctr"/>
          <a:endParaRPr lang="es-EC"/>
        </a:p>
      </dgm:t>
    </dgm:pt>
    <dgm:pt modelId="{23EEEF8F-6736-4E53-9372-B1ED9C04AD32}">
      <dgm:prSet phldrT="[Text]"/>
      <dgm:spPr>
        <a:solidFill>
          <a:schemeClr val="accent1">
            <a:lumMod val="50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/>
            <a:t>Jefe de</a:t>
          </a:r>
        </a:p>
        <a:p>
          <a:pPr algn="ctr"/>
          <a:r>
            <a:rPr lang="es-CO" dirty="0" smtClean="0"/>
            <a:t>Procesamiento / Centro de Cómputo</a:t>
          </a:r>
          <a:endParaRPr lang="es-CO" dirty="0"/>
        </a:p>
      </dgm:t>
    </dgm:pt>
    <dgm:pt modelId="{68F581CD-2FEA-4E3E-89E1-31C4BD0A4894}" type="parTrans" cxnId="{3609305D-1E61-4A80-B7D8-1E6FE67A7E26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EC"/>
        </a:p>
      </dgm:t>
    </dgm:pt>
    <dgm:pt modelId="{86CFBBC3-94AD-4A74-8640-87C8B7EF373C}" type="sibTrans" cxnId="{3609305D-1E61-4A80-B7D8-1E6FE67A7E26}">
      <dgm:prSet/>
      <dgm:spPr/>
      <dgm:t>
        <a:bodyPr/>
        <a:lstStyle/>
        <a:p>
          <a:pPr algn="ctr"/>
          <a:endParaRPr lang="es-EC"/>
        </a:p>
      </dgm:t>
    </dgm:pt>
    <dgm:pt modelId="{8D0335C3-9540-4993-B14A-0980226DB26B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Técnico de Procesamiento  (7)</a:t>
          </a:r>
          <a:endParaRPr lang="es-CO" b="1" dirty="0">
            <a:solidFill>
              <a:schemeClr val="bg1"/>
            </a:solidFill>
          </a:endParaRPr>
        </a:p>
      </dgm:t>
    </dgm:pt>
    <dgm:pt modelId="{56AB6C16-F82D-441F-A9AE-E07BFF5F5688}" type="parTrans" cxnId="{86E9691C-8C46-44CC-88A0-CB53623DB5C8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EC"/>
        </a:p>
      </dgm:t>
    </dgm:pt>
    <dgm:pt modelId="{F2017C24-73D1-4FD1-93B5-E3A33BAC8558}" type="sibTrans" cxnId="{86E9691C-8C46-44CC-88A0-CB53623DB5C8}">
      <dgm:prSet/>
      <dgm:spPr/>
      <dgm:t>
        <a:bodyPr/>
        <a:lstStyle/>
        <a:p>
          <a:pPr algn="ctr"/>
          <a:endParaRPr lang="es-EC"/>
        </a:p>
      </dgm:t>
    </dgm:pt>
    <dgm:pt modelId="{2CF39309-4E75-4DA8-830C-334D5EAA0F3E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Analista de Primera Línea (3)</a:t>
          </a:r>
          <a:endParaRPr lang="es-CO" b="1" dirty="0">
            <a:solidFill>
              <a:schemeClr val="bg1"/>
            </a:solidFill>
          </a:endParaRPr>
        </a:p>
      </dgm:t>
    </dgm:pt>
    <dgm:pt modelId="{538E7779-7DFF-485F-99FF-82BCEE7B9DC2}" type="sibTrans" cxnId="{525FC8B5-BEB9-4B83-A66D-4E81D9003CE2}">
      <dgm:prSet/>
      <dgm:spPr/>
      <dgm:t>
        <a:bodyPr/>
        <a:lstStyle/>
        <a:p>
          <a:pPr algn="ctr"/>
          <a:endParaRPr lang="es-EC"/>
        </a:p>
      </dgm:t>
    </dgm:pt>
    <dgm:pt modelId="{5C222380-994E-4C50-B135-E70636B1B0D5}" type="parTrans" cxnId="{525FC8B5-BEB9-4B83-A66D-4E81D9003CE2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EC"/>
        </a:p>
      </dgm:t>
    </dgm:pt>
    <dgm:pt modelId="{E1B7CEA3-6F0D-4620-BEC9-897E7295FE73}">
      <dgm:prSet phldrT="[Text]"/>
      <dgm:spPr>
        <a:solidFill>
          <a:schemeClr val="accent1">
            <a:lumMod val="50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Jefe de la Mesa de Servicio</a:t>
          </a:r>
          <a:endParaRPr lang="es-CO" b="1" dirty="0">
            <a:solidFill>
              <a:schemeClr val="bg1"/>
            </a:solidFill>
          </a:endParaRPr>
        </a:p>
      </dgm:t>
    </dgm:pt>
    <dgm:pt modelId="{BEA83EC8-CC5B-4E94-AD09-57C9C2C64C9A}" type="sibTrans" cxnId="{A8D4D2BD-BD56-4D55-812B-00DC9BD7A0D9}">
      <dgm:prSet/>
      <dgm:spPr/>
      <dgm:t>
        <a:bodyPr/>
        <a:lstStyle/>
        <a:p>
          <a:pPr algn="ctr"/>
          <a:endParaRPr lang="es-EC"/>
        </a:p>
      </dgm:t>
    </dgm:pt>
    <dgm:pt modelId="{692FEA41-F6E3-49D7-A3DA-BA3AA5AA3BE5}" type="parTrans" cxnId="{A8D4D2BD-BD56-4D55-812B-00DC9BD7A0D9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EC"/>
        </a:p>
      </dgm:t>
    </dgm:pt>
    <dgm:pt modelId="{1333DBA3-21F2-4801-A69F-15DCD05A2676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Técnico de Soporte en Sitio (4)</a:t>
          </a:r>
          <a:endParaRPr lang="es-CO" b="1" dirty="0">
            <a:solidFill>
              <a:schemeClr val="bg1"/>
            </a:solidFill>
          </a:endParaRPr>
        </a:p>
      </dgm:t>
    </dgm:pt>
    <dgm:pt modelId="{9B65C358-B2E5-4A45-8876-5821A6436300}" type="parTrans" cxnId="{E6279B0D-AFF2-4682-A87C-81DEBCD3B263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EC"/>
        </a:p>
      </dgm:t>
    </dgm:pt>
    <dgm:pt modelId="{ADE67D23-93F6-4861-9C38-9BD9E81B2394}" type="sibTrans" cxnId="{E6279B0D-AFF2-4682-A87C-81DEBCD3B263}">
      <dgm:prSet/>
      <dgm:spPr/>
      <dgm:t>
        <a:bodyPr/>
        <a:lstStyle/>
        <a:p>
          <a:pPr algn="ctr"/>
          <a:endParaRPr lang="es-EC"/>
        </a:p>
      </dgm:t>
    </dgm:pt>
    <dgm:pt modelId="{F23F3DEC-2A69-4A91-93A3-F743E4667D3B}">
      <dgm:prSet phldrT="[Text]"/>
      <dgm:spPr>
        <a:solidFill>
          <a:schemeClr val="accent1">
            <a:lumMod val="50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Jefe de Monitoreo</a:t>
          </a:r>
        </a:p>
      </dgm:t>
    </dgm:pt>
    <dgm:pt modelId="{2F3C05C8-A630-4634-9552-EB695B618E62}" type="parTrans" cxnId="{1CFBD199-AAC3-453E-A3F8-24FA03F42AF8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EC"/>
        </a:p>
      </dgm:t>
    </dgm:pt>
    <dgm:pt modelId="{62BCDBCC-FA1A-46A6-96B3-2795C42FB1BA}" type="sibTrans" cxnId="{1CFBD199-AAC3-453E-A3F8-24FA03F42AF8}">
      <dgm:prSet/>
      <dgm:spPr/>
      <dgm:t>
        <a:bodyPr/>
        <a:lstStyle/>
        <a:p>
          <a:pPr algn="ctr"/>
          <a:endParaRPr lang="es-EC"/>
        </a:p>
      </dgm:t>
    </dgm:pt>
    <dgm:pt modelId="{A73C13EC-F59E-4C95-BAF0-9A73383C04ED}">
      <dgm:prSet phldrT="[Text]"/>
      <dgm:spPr>
        <a:solidFill>
          <a:schemeClr val="accent1">
            <a:lumMod val="75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>
              <a:solidFill>
                <a:schemeClr val="bg1"/>
              </a:solidFill>
            </a:rPr>
            <a:t>Técnicos de Monitoreo (4)</a:t>
          </a:r>
        </a:p>
      </dgm:t>
    </dgm:pt>
    <dgm:pt modelId="{40D1E555-2028-4067-9932-8274BB074C2F}" type="parTrans" cxnId="{124364BC-2097-4604-82B3-28F4C4E01ED7}">
      <dgm:prSet>
        <dgm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dgm:style>
      </dgm:prSet>
      <dgm:spPr/>
      <dgm:t>
        <a:bodyPr/>
        <a:lstStyle/>
        <a:p>
          <a:pPr algn="ctr"/>
          <a:endParaRPr lang="es-EC"/>
        </a:p>
      </dgm:t>
    </dgm:pt>
    <dgm:pt modelId="{FEBD174E-AE22-4957-84B4-FFCD1EF86026}" type="sibTrans" cxnId="{124364BC-2097-4604-82B3-28F4C4E01ED7}">
      <dgm:prSet/>
      <dgm:spPr/>
      <dgm:t>
        <a:bodyPr/>
        <a:lstStyle/>
        <a:p>
          <a:pPr algn="ctr"/>
          <a:endParaRPr lang="es-EC"/>
        </a:p>
      </dgm:t>
    </dgm:pt>
    <dgm:pt modelId="{FD41F262-0416-425C-8D22-93E7DE9F2F99}">
      <dgm:prSet phldrT="[Text]"/>
      <dgm:spPr>
        <a:solidFill>
          <a:schemeClr val="accent1">
            <a:lumMod val="10000"/>
          </a:schemeClr>
        </a:solidFill>
        <a:ln>
          <a:noFill/>
        </a:ln>
      </dgm:spPr>
      <dgm:t>
        <a:bodyPr/>
        <a:lstStyle/>
        <a:p>
          <a:pPr algn="ctr"/>
          <a:r>
            <a:rPr lang="es-CO" b="1" dirty="0" smtClean="0"/>
            <a:t>Gerente de Operaciones del Servicio</a:t>
          </a:r>
          <a:endParaRPr lang="es-CO" b="1" dirty="0"/>
        </a:p>
      </dgm:t>
    </dgm:pt>
    <dgm:pt modelId="{8521C421-FAEC-4109-89A3-4AB293C47F17}" type="parTrans" cxnId="{5161A51B-2007-4E1A-AB18-4D3250CC4959}">
      <dgm:prSet/>
      <dgm:spPr/>
      <dgm:t>
        <a:bodyPr/>
        <a:lstStyle/>
        <a:p>
          <a:pPr algn="ctr"/>
          <a:endParaRPr lang="es-EC"/>
        </a:p>
      </dgm:t>
    </dgm:pt>
    <dgm:pt modelId="{7EC87248-5CA2-483E-AD2B-130AF22BDA4D}" type="sibTrans" cxnId="{5161A51B-2007-4E1A-AB18-4D3250CC4959}">
      <dgm:prSet/>
      <dgm:spPr/>
      <dgm:t>
        <a:bodyPr/>
        <a:lstStyle/>
        <a:p>
          <a:pPr algn="ctr"/>
          <a:endParaRPr lang="es-EC"/>
        </a:p>
      </dgm:t>
    </dgm:pt>
    <dgm:pt modelId="{A18F959C-865D-4AA1-B988-38150284E325}" type="pres">
      <dgm:prSet presAssocID="{F7DBED64-7392-464F-822F-F1F8E8FB10A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CO"/>
        </a:p>
      </dgm:t>
    </dgm:pt>
    <dgm:pt modelId="{9EC9A148-F718-41F9-8521-C1EA051A0FAB}" type="pres">
      <dgm:prSet presAssocID="{FD41F262-0416-425C-8D22-93E7DE9F2F99}" presName="hierRoot1" presStyleCnt="0">
        <dgm:presLayoutVars>
          <dgm:hierBranch val="init"/>
        </dgm:presLayoutVars>
      </dgm:prSet>
      <dgm:spPr/>
    </dgm:pt>
    <dgm:pt modelId="{C956DA2D-CEB6-4BE0-9BE1-F6D3EF9DE22B}" type="pres">
      <dgm:prSet presAssocID="{FD41F262-0416-425C-8D22-93E7DE9F2F99}" presName="rootComposite1" presStyleCnt="0"/>
      <dgm:spPr/>
    </dgm:pt>
    <dgm:pt modelId="{38978F0E-6009-42EB-9096-7109A4CDDF43}" type="pres">
      <dgm:prSet presAssocID="{FD41F262-0416-425C-8D22-93E7DE9F2F99}" presName="rootText1" presStyleLbl="node0" presStyleIdx="0" presStyleCnt="1" custLinFactNeighborX="-64063" custLinFactNeighborY="-2040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27ACF448-8BC5-4F9F-86B6-2B7041942A6B}" type="pres">
      <dgm:prSet presAssocID="{FD41F262-0416-425C-8D22-93E7DE9F2F99}" presName="rootConnector1" presStyleLbl="node1" presStyleIdx="0" presStyleCnt="0"/>
      <dgm:spPr/>
      <dgm:t>
        <a:bodyPr/>
        <a:lstStyle/>
        <a:p>
          <a:endParaRPr lang="es-EC"/>
        </a:p>
      </dgm:t>
    </dgm:pt>
    <dgm:pt modelId="{7B48BEFF-C1A2-4CCA-B3CA-6D63E0059992}" type="pres">
      <dgm:prSet presAssocID="{FD41F262-0416-425C-8D22-93E7DE9F2F99}" presName="hierChild2" presStyleCnt="0"/>
      <dgm:spPr/>
    </dgm:pt>
    <dgm:pt modelId="{D8183AAA-8E87-4037-8D21-1901B17652B5}" type="pres">
      <dgm:prSet presAssocID="{3CFEEE81-E8FD-4FCD-93FC-923D73B73CBF}" presName="Name37" presStyleLbl="parChTrans1D2" presStyleIdx="0" presStyleCnt="3"/>
      <dgm:spPr/>
      <dgm:t>
        <a:bodyPr/>
        <a:lstStyle/>
        <a:p>
          <a:endParaRPr lang="es-CO"/>
        </a:p>
      </dgm:t>
    </dgm:pt>
    <dgm:pt modelId="{B886B9DE-0009-47EB-ADA3-6E3E700C2992}" type="pres">
      <dgm:prSet presAssocID="{A86C71EA-5671-46B4-A9A4-44DD198AC0DB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26BEFCAB-D62C-4084-BEAA-DFBA904A955F}" type="pres">
      <dgm:prSet presAssocID="{A86C71EA-5671-46B4-A9A4-44DD198AC0DB}" presName="rootComposite" presStyleCnt="0"/>
      <dgm:spPr/>
      <dgm:t>
        <a:bodyPr/>
        <a:lstStyle/>
        <a:p>
          <a:endParaRPr lang="es-CO"/>
        </a:p>
      </dgm:t>
    </dgm:pt>
    <dgm:pt modelId="{996694F2-0834-4AE7-AA46-3ADEBE369A06}" type="pres">
      <dgm:prSet presAssocID="{A86C71EA-5671-46B4-A9A4-44DD198AC0DB}" presName="rootText" presStyleLbl="node2" presStyleIdx="0" presStyleCnt="3" custLinFactNeighborX="-290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BB9F0B52-A9D6-494E-B7EB-1C3FCB05A4D7}" type="pres">
      <dgm:prSet presAssocID="{A86C71EA-5671-46B4-A9A4-44DD198AC0DB}" presName="rootConnector" presStyleLbl="node2" presStyleIdx="0" presStyleCnt="3"/>
      <dgm:spPr/>
      <dgm:t>
        <a:bodyPr/>
        <a:lstStyle/>
        <a:p>
          <a:endParaRPr lang="es-CO"/>
        </a:p>
      </dgm:t>
    </dgm:pt>
    <dgm:pt modelId="{45D82CAE-8BA7-44F3-B251-3600462930CE}" type="pres">
      <dgm:prSet presAssocID="{A86C71EA-5671-46B4-A9A4-44DD198AC0DB}" presName="hierChild4" presStyleCnt="0"/>
      <dgm:spPr/>
      <dgm:t>
        <a:bodyPr/>
        <a:lstStyle/>
        <a:p>
          <a:endParaRPr lang="es-CO"/>
        </a:p>
      </dgm:t>
    </dgm:pt>
    <dgm:pt modelId="{E2FEB621-6C0A-4CB2-8609-E78D785F5961}" type="pres">
      <dgm:prSet presAssocID="{68F581CD-2FEA-4E3E-89E1-31C4BD0A4894}" presName="Name37" presStyleLbl="parChTrans1D3" presStyleIdx="0" presStyleCnt="10"/>
      <dgm:spPr/>
      <dgm:t>
        <a:bodyPr/>
        <a:lstStyle/>
        <a:p>
          <a:endParaRPr lang="es-EC"/>
        </a:p>
      </dgm:t>
    </dgm:pt>
    <dgm:pt modelId="{0BA1A05F-EFBD-4376-B63C-6EBB8BF712FE}" type="pres">
      <dgm:prSet presAssocID="{23EEEF8F-6736-4E53-9372-B1ED9C04AD32}" presName="hierRoot2" presStyleCnt="0">
        <dgm:presLayoutVars>
          <dgm:hierBranch val="init"/>
        </dgm:presLayoutVars>
      </dgm:prSet>
      <dgm:spPr/>
    </dgm:pt>
    <dgm:pt modelId="{6D4C6793-F66E-4C70-A869-73B6794FBE46}" type="pres">
      <dgm:prSet presAssocID="{23EEEF8F-6736-4E53-9372-B1ED9C04AD32}" presName="rootComposite" presStyleCnt="0"/>
      <dgm:spPr/>
    </dgm:pt>
    <dgm:pt modelId="{71116FFC-9927-4495-B57C-875E6EC24DA7}" type="pres">
      <dgm:prSet presAssocID="{23EEEF8F-6736-4E53-9372-B1ED9C04AD32}" presName="rootText" presStyleLbl="node3" presStyleIdx="0" presStyleCnt="10" custLinFactNeighborX="-290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4784CA01-8C1B-4040-851F-DB9CA38F4034}" type="pres">
      <dgm:prSet presAssocID="{23EEEF8F-6736-4E53-9372-B1ED9C04AD32}" presName="rootConnector" presStyleLbl="node3" presStyleIdx="0" presStyleCnt="10"/>
      <dgm:spPr/>
      <dgm:t>
        <a:bodyPr/>
        <a:lstStyle/>
        <a:p>
          <a:endParaRPr lang="es-EC"/>
        </a:p>
      </dgm:t>
    </dgm:pt>
    <dgm:pt modelId="{A2A98C47-0E0D-46E2-9545-1513ED3C865F}" type="pres">
      <dgm:prSet presAssocID="{23EEEF8F-6736-4E53-9372-B1ED9C04AD32}" presName="hierChild4" presStyleCnt="0"/>
      <dgm:spPr/>
    </dgm:pt>
    <dgm:pt modelId="{EE4AAF33-20DE-4740-A945-CCD27BC991CE}" type="pres">
      <dgm:prSet presAssocID="{56AB6C16-F82D-441F-A9AE-E07BFF5F5688}" presName="Name37" presStyleLbl="parChTrans1D4" presStyleIdx="0" presStyleCnt="13"/>
      <dgm:spPr/>
      <dgm:t>
        <a:bodyPr/>
        <a:lstStyle/>
        <a:p>
          <a:endParaRPr lang="es-EC"/>
        </a:p>
      </dgm:t>
    </dgm:pt>
    <dgm:pt modelId="{3E4E5E07-A91E-48C4-9D93-F65718D40085}" type="pres">
      <dgm:prSet presAssocID="{8D0335C3-9540-4993-B14A-0980226DB26B}" presName="hierRoot2" presStyleCnt="0">
        <dgm:presLayoutVars>
          <dgm:hierBranch val="init"/>
        </dgm:presLayoutVars>
      </dgm:prSet>
      <dgm:spPr/>
    </dgm:pt>
    <dgm:pt modelId="{0AC5E857-2FAE-4BCF-88DD-D74DF821CA93}" type="pres">
      <dgm:prSet presAssocID="{8D0335C3-9540-4993-B14A-0980226DB26B}" presName="rootComposite" presStyleCnt="0"/>
      <dgm:spPr/>
    </dgm:pt>
    <dgm:pt modelId="{F3A51314-DF1B-4A9D-ACCE-F02E2FE89469}" type="pres">
      <dgm:prSet presAssocID="{8D0335C3-9540-4993-B14A-0980226DB26B}" presName="rootText" presStyleLbl="node4" presStyleIdx="0" presStyleCnt="13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D4956D19-21CB-4619-99C6-F24F347B122C}" type="pres">
      <dgm:prSet presAssocID="{8D0335C3-9540-4993-B14A-0980226DB26B}" presName="rootConnector" presStyleLbl="node4" presStyleIdx="0" presStyleCnt="13"/>
      <dgm:spPr/>
      <dgm:t>
        <a:bodyPr/>
        <a:lstStyle/>
        <a:p>
          <a:endParaRPr lang="es-EC"/>
        </a:p>
      </dgm:t>
    </dgm:pt>
    <dgm:pt modelId="{B716DAC3-5462-42A1-BFDA-B6DB5EB2DE0F}" type="pres">
      <dgm:prSet presAssocID="{8D0335C3-9540-4993-B14A-0980226DB26B}" presName="hierChild4" presStyleCnt="0"/>
      <dgm:spPr/>
    </dgm:pt>
    <dgm:pt modelId="{CA089786-EEB7-4797-9C54-5380110B1094}" type="pres">
      <dgm:prSet presAssocID="{8D0335C3-9540-4993-B14A-0980226DB26B}" presName="hierChild5" presStyleCnt="0"/>
      <dgm:spPr/>
    </dgm:pt>
    <dgm:pt modelId="{F4B36C13-BCD7-4D9C-B313-8F8889999EFC}" type="pres">
      <dgm:prSet presAssocID="{23EEEF8F-6736-4E53-9372-B1ED9C04AD32}" presName="hierChild5" presStyleCnt="0"/>
      <dgm:spPr/>
    </dgm:pt>
    <dgm:pt modelId="{143CC701-1B38-405D-9C68-AAB4A5CCB58B}" type="pres">
      <dgm:prSet presAssocID="{40D61938-5CBF-407C-97EF-399C0781B178}" presName="Name37" presStyleLbl="parChTrans1D3" presStyleIdx="1" presStyleCnt="10"/>
      <dgm:spPr/>
      <dgm:t>
        <a:bodyPr/>
        <a:lstStyle/>
        <a:p>
          <a:endParaRPr lang="es-CO"/>
        </a:p>
      </dgm:t>
    </dgm:pt>
    <dgm:pt modelId="{912ADAB0-D7B2-47B0-820F-E5EFB7185E25}" type="pres">
      <dgm:prSet presAssocID="{3A03BADF-6CCB-43C6-A092-2955E91209BA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2AA27CF0-8F6C-43E9-8038-490A90FDA26D}" type="pres">
      <dgm:prSet presAssocID="{3A03BADF-6CCB-43C6-A092-2955E91209BA}" presName="rootComposite" presStyleCnt="0"/>
      <dgm:spPr/>
      <dgm:t>
        <a:bodyPr/>
        <a:lstStyle/>
        <a:p>
          <a:endParaRPr lang="es-CO"/>
        </a:p>
      </dgm:t>
    </dgm:pt>
    <dgm:pt modelId="{06CA66EF-599C-4E28-ABCF-AC743FDFF894}" type="pres">
      <dgm:prSet presAssocID="{3A03BADF-6CCB-43C6-A092-2955E91209BA}" presName="rootText" presStyleLbl="node3" presStyleIdx="1" presStyleCnt="10" custLinFactNeighborX="-290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DA3CDD39-3ACB-4496-B276-5221C21E3E3A}" type="pres">
      <dgm:prSet presAssocID="{3A03BADF-6CCB-43C6-A092-2955E91209BA}" presName="rootConnector" presStyleLbl="node3" presStyleIdx="1" presStyleCnt="10"/>
      <dgm:spPr/>
      <dgm:t>
        <a:bodyPr/>
        <a:lstStyle/>
        <a:p>
          <a:endParaRPr lang="es-CO"/>
        </a:p>
      </dgm:t>
    </dgm:pt>
    <dgm:pt modelId="{D220AD1C-B967-4771-A1AC-EE24E032B8AE}" type="pres">
      <dgm:prSet presAssocID="{3A03BADF-6CCB-43C6-A092-2955E91209BA}" presName="hierChild4" presStyleCnt="0"/>
      <dgm:spPr/>
      <dgm:t>
        <a:bodyPr/>
        <a:lstStyle/>
        <a:p>
          <a:endParaRPr lang="es-CO"/>
        </a:p>
      </dgm:t>
    </dgm:pt>
    <dgm:pt modelId="{60C56F1B-DDC3-4359-A359-6F29F68BF0BD}" type="pres">
      <dgm:prSet presAssocID="{CD60E979-A548-4F73-9D5E-B934FEF0B4AA}" presName="Name37" presStyleLbl="parChTrans1D4" presStyleIdx="1" presStyleCnt="13"/>
      <dgm:spPr/>
      <dgm:t>
        <a:bodyPr/>
        <a:lstStyle/>
        <a:p>
          <a:endParaRPr lang="es-CO"/>
        </a:p>
      </dgm:t>
    </dgm:pt>
    <dgm:pt modelId="{0F87E5E7-A2F8-4AA3-8A56-B998DB18F5BE}" type="pres">
      <dgm:prSet presAssocID="{2E4921BC-8EF5-4555-9B83-B10149059FC0}" presName="hierRoot2" presStyleCnt="0">
        <dgm:presLayoutVars>
          <dgm:hierBranch val="init"/>
        </dgm:presLayoutVars>
      </dgm:prSet>
      <dgm:spPr/>
    </dgm:pt>
    <dgm:pt modelId="{2BE8F5EC-BE52-4595-8541-75E9E0FB5A54}" type="pres">
      <dgm:prSet presAssocID="{2E4921BC-8EF5-4555-9B83-B10149059FC0}" presName="rootComposite" presStyleCnt="0"/>
      <dgm:spPr/>
    </dgm:pt>
    <dgm:pt modelId="{31596D48-3732-4636-832E-FC4F87390FF6}" type="pres">
      <dgm:prSet presAssocID="{2E4921BC-8EF5-4555-9B83-B10149059FC0}" presName="rootText" presStyleLbl="node4" presStyleIdx="1" presStyleCnt="13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38B62FF6-6468-4BB6-8042-BE1E3682E5BB}" type="pres">
      <dgm:prSet presAssocID="{2E4921BC-8EF5-4555-9B83-B10149059FC0}" presName="rootConnector" presStyleLbl="node4" presStyleIdx="1" presStyleCnt="13"/>
      <dgm:spPr/>
      <dgm:t>
        <a:bodyPr/>
        <a:lstStyle/>
        <a:p>
          <a:endParaRPr lang="es-CO"/>
        </a:p>
      </dgm:t>
    </dgm:pt>
    <dgm:pt modelId="{B944BB30-1FE2-48B8-9CD0-D4555CCB3342}" type="pres">
      <dgm:prSet presAssocID="{2E4921BC-8EF5-4555-9B83-B10149059FC0}" presName="hierChild4" presStyleCnt="0"/>
      <dgm:spPr/>
    </dgm:pt>
    <dgm:pt modelId="{86F82572-768D-41D0-9F1F-1163CCF174BE}" type="pres">
      <dgm:prSet presAssocID="{2E4921BC-8EF5-4555-9B83-B10149059FC0}" presName="hierChild5" presStyleCnt="0"/>
      <dgm:spPr/>
    </dgm:pt>
    <dgm:pt modelId="{BBA707D0-C68F-4411-83F2-2670D1B61705}" type="pres">
      <dgm:prSet presAssocID="{371B5A76-FFF9-41F1-8115-158F48393E50}" presName="Name37" presStyleLbl="parChTrans1D4" presStyleIdx="2" presStyleCnt="13"/>
      <dgm:spPr/>
      <dgm:t>
        <a:bodyPr/>
        <a:lstStyle/>
        <a:p>
          <a:endParaRPr lang="es-CO"/>
        </a:p>
      </dgm:t>
    </dgm:pt>
    <dgm:pt modelId="{3CA70E52-6488-42A3-8F6C-171782B21BD7}" type="pres">
      <dgm:prSet presAssocID="{121CD71E-366F-411B-83EC-DA6DB0182775}" presName="hierRoot2" presStyleCnt="0">
        <dgm:presLayoutVars>
          <dgm:hierBranch val="init"/>
        </dgm:presLayoutVars>
      </dgm:prSet>
      <dgm:spPr/>
    </dgm:pt>
    <dgm:pt modelId="{A42D24F7-DC66-458C-A57C-3DD4746EC35C}" type="pres">
      <dgm:prSet presAssocID="{121CD71E-366F-411B-83EC-DA6DB0182775}" presName="rootComposite" presStyleCnt="0"/>
      <dgm:spPr/>
    </dgm:pt>
    <dgm:pt modelId="{77889527-32C5-471A-9C0A-D1D3821A4319}" type="pres">
      <dgm:prSet presAssocID="{121CD71E-366F-411B-83EC-DA6DB0182775}" presName="rootText" presStyleLbl="node4" presStyleIdx="2" presStyleCnt="13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53A52D26-0E8F-409E-A0DE-2D4709C85511}" type="pres">
      <dgm:prSet presAssocID="{121CD71E-366F-411B-83EC-DA6DB0182775}" presName="rootConnector" presStyleLbl="node4" presStyleIdx="2" presStyleCnt="13"/>
      <dgm:spPr/>
      <dgm:t>
        <a:bodyPr/>
        <a:lstStyle/>
        <a:p>
          <a:endParaRPr lang="es-CO"/>
        </a:p>
      </dgm:t>
    </dgm:pt>
    <dgm:pt modelId="{9E389886-4DA6-43D6-91F9-3454F884724F}" type="pres">
      <dgm:prSet presAssocID="{121CD71E-366F-411B-83EC-DA6DB0182775}" presName="hierChild4" presStyleCnt="0"/>
      <dgm:spPr/>
    </dgm:pt>
    <dgm:pt modelId="{734DB7C5-47DC-4A1D-8BF2-36CD320942B0}" type="pres">
      <dgm:prSet presAssocID="{121CD71E-366F-411B-83EC-DA6DB0182775}" presName="hierChild5" presStyleCnt="0"/>
      <dgm:spPr/>
    </dgm:pt>
    <dgm:pt modelId="{230600C3-4522-41CF-BD3A-5DBB5053CE10}" type="pres">
      <dgm:prSet presAssocID="{A0538E5B-3F1C-4877-B1B4-8EACFA0D6F91}" presName="Name37" presStyleLbl="parChTrans1D4" presStyleIdx="3" presStyleCnt="13"/>
      <dgm:spPr/>
      <dgm:t>
        <a:bodyPr/>
        <a:lstStyle/>
        <a:p>
          <a:endParaRPr lang="es-EC"/>
        </a:p>
      </dgm:t>
    </dgm:pt>
    <dgm:pt modelId="{33D34D77-E512-408C-A4E2-6E2DCE2C58F1}" type="pres">
      <dgm:prSet presAssocID="{0285C9EE-55DF-40F2-A4C1-C2A372DF007E}" presName="hierRoot2" presStyleCnt="0">
        <dgm:presLayoutVars>
          <dgm:hierBranch val="init"/>
        </dgm:presLayoutVars>
      </dgm:prSet>
      <dgm:spPr/>
    </dgm:pt>
    <dgm:pt modelId="{D158100A-10E5-4C58-9234-8CE1495616BE}" type="pres">
      <dgm:prSet presAssocID="{0285C9EE-55DF-40F2-A4C1-C2A372DF007E}" presName="rootComposite" presStyleCnt="0"/>
      <dgm:spPr/>
    </dgm:pt>
    <dgm:pt modelId="{E9669082-443A-49A1-8E31-C4111753FA5B}" type="pres">
      <dgm:prSet presAssocID="{0285C9EE-55DF-40F2-A4C1-C2A372DF007E}" presName="rootText" presStyleLbl="node4" presStyleIdx="3" presStyleCnt="13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5F6043A5-728B-48F3-B8EF-36CEB192958E}" type="pres">
      <dgm:prSet presAssocID="{0285C9EE-55DF-40F2-A4C1-C2A372DF007E}" presName="rootConnector" presStyleLbl="node4" presStyleIdx="3" presStyleCnt="13"/>
      <dgm:spPr/>
      <dgm:t>
        <a:bodyPr/>
        <a:lstStyle/>
        <a:p>
          <a:endParaRPr lang="es-EC"/>
        </a:p>
      </dgm:t>
    </dgm:pt>
    <dgm:pt modelId="{E3F5AF36-F07F-46FF-B744-02D893AEDC88}" type="pres">
      <dgm:prSet presAssocID="{0285C9EE-55DF-40F2-A4C1-C2A372DF007E}" presName="hierChild4" presStyleCnt="0"/>
      <dgm:spPr/>
    </dgm:pt>
    <dgm:pt modelId="{12F901AD-2A92-4964-BEF6-F5FEAF4517C2}" type="pres">
      <dgm:prSet presAssocID="{0285C9EE-55DF-40F2-A4C1-C2A372DF007E}" presName="hierChild5" presStyleCnt="0"/>
      <dgm:spPr/>
    </dgm:pt>
    <dgm:pt modelId="{8732188D-FC6A-4FDA-BB49-D4B06B610319}" type="pres">
      <dgm:prSet presAssocID="{3A03BADF-6CCB-43C6-A092-2955E91209BA}" presName="hierChild5" presStyleCnt="0"/>
      <dgm:spPr/>
      <dgm:t>
        <a:bodyPr/>
        <a:lstStyle/>
        <a:p>
          <a:endParaRPr lang="es-CO"/>
        </a:p>
      </dgm:t>
    </dgm:pt>
    <dgm:pt modelId="{8750D8CA-F2B8-4F0F-8A4C-1766EF575569}" type="pres">
      <dgm:prSet presAssocID="{895BBA9E-995E-437E-B623-4E6CB016DCF6}" presName="Name37" presStyleLbl="parChTrans1D3" presStyleIdx="2" presStyleCnt="10"/>
      <dgm:spPr/>
      <dgm:t>
        <a:bodyPr/>
        <a:lstStyle/>
        <a:p>
          <a:endParaRPr lang="es-CO"/>
        </a:p>
      </dgm:t>
    </dgm:pt>
    <dgm:pt modelId="{A4C1B58A-A63D-46EE-9528-32792646E884}" type="pres">
      <dgm:prSet presAssocID="{29D0AD0F-C607-4E24-84B2-06D56C2A79F3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0372C06A-CA5C-4B2B-AD7E-600FDEB184C4}" type="pres">
      <dgm:prSet presAssocID="{29D0AD0F-C607-4E24-84B2-06D56C2A79F3}" presName="rootComposite" presStyleCnt="0"/>
      <dgm:spPr/>
      <dgm:t>
        <a:bodyPr/>
        <a:lstStyle/>
        <a:p>
          <a:endParaRPr lang="es-CO"/>
        </a:p>
      </dgm:t>
    </dgm:pt>
    <dgm:pt modelId="{CBB17A79-3384-4633-ABFD-B72B70A17326}" type="pres">
      <dgm:prSet presAssocID="{29D0AD0F-C607-4E24-84B2-06D56C2A79F3}" presName="rootText" presStyleLbl="node3" presStyleIdx="2" presStyleCnt="10" custLinFactNeighborX="-290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CBC8D6E6-6B11-4FC3-934F-8E3CAC1468DF}" type="pres">
      <dgm:prSet presAssocID="{29D0AD0F-C607-4E24-84B2-06D56C2A79F3}" presName="rootConnector" presStyleLbl="node3" presStyleIdx="2" presStyleCnt="10"/>
      <dgm:spPr/>
      <dgm:t>
        <a:bodyPr/>
        <a:lstStyle/>
        <a:p>
          <a:endParaRPr lang="es-CO"/>
        </a:p>
      </dgm:t>
    </dgm:pt>
    <dgm:pt modelId="{079DC42B-7C40-49F5-962F-74D9E4DE8B25}" type="pres">
      <dgm:prSet presAssocID="{29D0AD0F-C607-4E24-84B2-06D56C2A79F3}" presName="hierChild4" presStyleCnt="0"/>
      <dgm:spPr/>
      <dgm:t>
        <a:bodyPr/>
        <a:lstStyle/>
        <a:p>
          <a:endParaRPr lang="es-CO"/>
        </a:p>
      </dgm:t>
    </dgm:pt>
    <dgm:pt modelId="{191D5C29-33EE-42DC-91A8-F3AC025FDCAD}" type="pres">
      <dgm:prSet presAssocID="{3A41EAD6-3AA1-4568-A3C6-6887820ABDDC}" presName="Name37" presStyleLbl="parChTrans1D4" presStyleIdx="4" presStyleCnt="13"/>
      <dgm:spPr/>
      <dgm:t>
        <a:bodyPr/>
        <a:lstStyle/>
        <a:p>
          <a:endParaRPr lang="es-CO"/>
        </a:p>
      </dgm:t>
    </dgm:pt>
    <dgm:pt modelId="{049C4A73-A84B-4EA5-A6E4-1CDC4C34CFD3}" type="pres">
      <dgm:prSet presAssocID="{DCAF94E9-D4E4-49A2-8A28-A02B5F1A1AA0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54FE6336-6AB0-462A-9353-C45E3AF1CFB7}" type="pres">
      <dgm:prSet presAssocID="{DCAF94E9-D4E4-49A2-8A28-A02B5F1A1AA0}" presName="rootComposite" presStyleCnt="0"/>
      <dgm:spPr/>
      <dgm:t>
        <a:bodyPr/>
        <a:lstStyle/>
        <a:p>
          <a:endParaRPr lang="es-CO"/>
        </a:p>
      </dgm:t>
    </dgm:pt>
    <dgm:pt modelId="{3A00F916-FFEC-44B8-8B56-C3C7C540EA98}" type="pres">
      <dgm:prSet presAssocID="{DCAF94E9-D4E4-49A2-8A28-A02B5F1A1AA0}" presName="rootText" presStyleLbl="node4" presStyleIdx="4" presStyleCnt="13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7C254A46-30D4-48E0-977F-8A18BFAD58D3}" type="pres">
      <dgm:prSet presAssocID="{DCAF94E9-D4E4-49A2-8A28-A02B5F1A1AA0}" presName="rootConnector" presStyleLbl="node4" presStyleIdx="4" presStyleCnt="13"/>
      <dgm:spPr/>
      <dgm:t>
        <a:bodyPr/>
        <a:lstStyle/>
        <a:p>
          <a:endParaRPr lang="es-CO"/>
        </a:p>
      </dgm:t>
    </dgm:pt>
    <dgm:pt modelId="{17F9DCA6-3E57-4D90-BE39-46E72BAA9750}" type="pres">
      <dgm:prSet presAssocID="{DCAF94E9-D4E4-49A2-8A28-A02B5F1A1AA0}" presName="hierChild4" presStyleCnt="0"/>
      <dgm:spPr/>
      <dgm:t>
        <a:bodyPr/>
        <a:lstStyle/>
        <a:p>
          <a:endParaRPr lang="es-CO"/>
        </a:p>
      </dgm:t>
    </dgm:pt>
    <dgm:pt modelId="{EE7CE1AC-8580-4553-867F-2C0024802E41}" type="pres">
      <dgm:prSet presAssocID="{DCAF94E9-D4E4-49A2-8A28-A02B5F1A1AA0}" presName="hierChild5" presStyleCnt="0"/>
      <dgm:spPr/>
      <dgm:t>
        <a:bodyPr/>
        <a:lstStyle/>
        <a:p>
          <a:endParaRPr lang="es-CO"/>
        </a:p>
      </dgm:t>
    </dgm:pt>
    <dgm:pt modelId="{38DD567D-1371-4142-898C-7582C80E5A42}" type="pres">
      <dgm:prSet presAssocID="{E25FA487-D382-410A-915D-6B02DDBE3214}" presName="Name37" presStyleLbl="parChTrans1D4" presStyleIdx="5" presStyleCnt="13"/>
      <dgm:spPr/>
      <dgm:t>
        <a:bodyPr/>
        <a:lstStyle/>
        <a:p>
          <a:endParaRPr lang="es-EC"/>
        </a:p>
      </dgm:t>
    </dgm:pt>
    <dgm:pt modelId="{F9A29A53-92F3-40D8-9ECF-CDA32CE2A1A7}" type="pres">
      <dgm:prSet presAssocID="{301A1366-CADE-4D06-AC17-8E70961526AA}" presName="hierRoot2" presStyleCnt="0">
        <dgm:presLayoutVars>
          <dgm:hierBranch val="init"/>
        </dgm:presLayoutVars>
      </dgm:prSet>
      <dgm:spPr/>
    </dgm:pt>
    <dgm:pt modelId="{1C976C0D-6088-4142-AC3E-3B34C1DD8A61}" type="pres">
      <dgm:prSet presAssocID="{301A1366-CADE-4D06-AC17-8E70961526AA}" presName="rootComposite" presStyleCnt="0"/>
      <dgm:spPr/>
    </dgm:pt>
    <dgm:pt modelId="{144F457F-721E-4B2B-ADD6-7E949BF6AEAA}" type="pres">
      <dgm:prSet presAssocID="{301A1366-CADE-4D06-AC17-8E70961526AA}" presName="rootText" presStyleLbl="node4" presStyleIdx="5" presStyleCnt="13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36E9B2F8-5AD4-42BA-A0D7-A8C4B705EA0D}" type="pres">
      <dgm:prSet presAssocID="{301A1366-CADE-4D06-AC17-8E70961526AA}" presName="rootConnector" presStyleLbl="node4" presStyleIdx="5" presStyleCnt="13"/>
      <dgm:spPr/>
      <dgm:t>
        <a:bodyPr/>
        <a:lstStyle/>
        <a:p>
          <a:endParaRPr lang="es-EC"/>
        </a:p>
      </dgm:t>
    </dgm:pt>
    <dgm:pt modelId="{358C3084-C6F6-4ECC-8777-3EEA5B731E43}" type="pres">
      <dgm:prSet presAssocID="{301A1366-CADE-4D06-AC17-8E70961526AA}" presName="hierChild4" presStyleCnt="0"/>
      <dgm:spPr/>
    </dgm:pt>
    <dgm:pt modelId="{0DC0763B-67A6-43D1-96DB-73083E3CDFD4}" type="pres">
      <dgm:prSet presAssocID="{301A1366-CADE-4D06-AC17-8E70961526AA}" presName="hierChild5" presStyleCnt="0"/>
      <dgm:spPr/>
    </dgm:pt>
    <dgm:pt modelId="{28CAB18D-CC0C-4A7F-A23F-D782E7501D01}" type="pres">
      <dgm:prSet presAssocID="{D3ACE48C-1367-44EF-998B-72D79DDDBADC}" presName="Name37" presStyleLbl="parChTrans1D4" presStyleIdx="6" presStyleCnt="13"/>
      <dgm:spPr/>
      <dgm:t>
        <a:bodyPr/>
        <a:lstStyle/>
        <a:p>
          <a:endParaRPr lang="es-EC"/>
        </a:p>
      </dgm:t>
    </dgm:pt>
    <dgm:pt modelId="{9E48CBDB-90C8-4BEF-8DF2-FCA4FD4606E5}" type="pres">
      <dgm:prSet presAssocID="{650C56BF-EA07-4044-A270-4C757F618744}" presName="hierRoot2" presStyleCnt="0">
        <dgm:presLayoutVars>
          <dgm:hierBranch val="init"/>
        </dgm:presLayoutVars>
      </dgm:prSet>
      <dgm:spPr/>
    </dgm:pt>
    <dgm:pt modelId="{7CF86BAB-E044-4CB9-A578-8FFCE260A895}" type="pres">
      <dgm:prSet presAssocID="{650C56BF-EA07-4044-A270-4C757F618744}" presName="rootComposite" presStyleCnt="0"/>
      <dgm:spPr/>
    </dgm:pt>
    <dgm:pt modelId="{7D19BB47-4EE2-4858-94DE-0E14374383FA}" type="pres">
      <dgm:prSet presAssocID="{650C56BF-EA07-4044-A270-4C757F618744}" presName="rootText" presStyleLbl="node4" presStyleIdx="6" presStyleCnt="13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4E754B31-8057-4220-B5CB-1A859886270A}" type="pres">
      <dgm:prSet presAssocID="{650C56BF-EA07-4044-A270-4C757F618744}" presName="rootConnector" presStyleLbl="node4" presStyleIdx="6" presStyleCnt="13"/>
      <dgm:spPr/>
      <dgm:t>
        <a:bodyPr/>
        <a:lstStyle/>
        <a:p>
          <a:endParaRPr lang="es-EC"/>
        </a:p>
      </dgm:t>
    </dgm:pt>
    <dgm:pt modelId="{BD42193B-A252-43C4-8FDE-881C8CAB7C38}" type="pres">
      <dgm:prSet presAssocID="{650C56BF-EA07-4044-A270-4C757F618744}" presName="hierChild4" presStyleCnt="0"/>
      <dgm:spPr/>
    </dgm:pt>
    <dgm:pt modelId="{864FFCF0-29F7-4DAE-8FCF-06A106DAADA7}" type="pres">
      <dgm:prSet presAssocID="{650C56BF-EA07-4044-A270-4C757F618744}" presName="hierChild5" presStyleCnt="0"/>
      <dgm:spPr/>
    </dgm:pt>
    <dgm:pt modelId="{4F3169DE-EBF5-43A0-B1FC-CD62CEF09A16}" type="pres">
      <dgm:prSet presAssocID="{29D0AD0F-C607-4E24-84B2-06D56C2A79F3}" presName="hierChild5" presStyleCnt="0"/>
      <dgm:spPr/>
      <dgm:t>
        <a:bodyPr/>
        <a:lstStyle/>
        <a:p>
          <a:endParaRPr lang="es-CO"/>
        </a:p>
      </dgm:t>
    </dgm:pt>
    <dgm:pt modelId="{7CDEF8C7-0395-4A5C-83C0-01A3B56EDF4C}" type="pres">
      <dgm:prSet presAssocID="{A86C71EA-5671-46B4-A9A4-44DD198AC0DB}" presName="hierChild5" presStyleCnt="0"/>
      <dgm:spPr/>
      <dgm:t>
        <a:bodyPr/>
        <a:lstStyle/>
        <a:p>
          <a:endParaRPr lang="es-CO"/>
        </a:p>
      </dgm:t>
    </dgm:pt>
    <dgm:pt modelId="{EB4A5EA3-BF1F-4313-AED0-3C9F5881EE93}" type="pres">
      <dgm:prSet presAssocID="{E8DB6BB2-3C54-41E5-B4CA-9AB896B61686}" presName="Name37" presStyleLbl="parChTrans1D2" presStyleIdx="1" presStyleCnt="3"/>
      <dgm:spPr/>
      <dgm:t>
        <a:bodyPr/>
        <a:lstStyle/>
        <a:p>
          <a:endParaRPr lang="es-EC"/>
        </a:p>
      </dgm:t>
    </dgm:pt>
    <dgm:pt modelId="{2A51F462-FBAE-4AEC-9253-C844FCA3B41F}" type="pres">
      <dgm:prSet presAssocID="{053D5199-298E-4085-830B-26E831455299}" presName="hierRoot2" presStyleCnt="0">
        <dgm:presLayoutVars>
          <dgm:hierBranch val="init"/>
        </dgm:presLayoutVars>
      </dgm:prSet>
      <dgm:spPr/>
    </dgm:pt>
    <dgm:pt modelId="{F1BB179A-C326-4573-81D4-4A73C0845EE0}" type="pres">
      <dgm:prSet presAssocID="{053D5199-298E-4085-830B-26E831455299}" presName="rootComposite" presStyleCnt="0"/>
      <dgm:spPr/>
    </dgm:pt>
    <dgm:pt modelId="{D4AF10AE-8A6F-49A5-9C57-C9C89DFEA97F}" type="pres">
      <dgm:prSet presAssocID="{053D5199-298E-4085-830B-26E831455299}" presName="rootText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448AF93A-4CC7-46F7-97B8-2DB3ECDAD7BC}" type="pres">
      <dgm:prSet presAssocID="{053D5199-298E-4085-830B-26E831455299}" presName="rootConnector" presStyleLbl="node2" presStyleIdx="1" presStyleCnt="3"/>
      <dgm:spPr/>
      <dgm:t>
        <a:bodyPr/>
        <a:lstStyle/>
        <a:p>
          <a:endParaRPr lang="es-EC"/>
        </a:p>
      </dgm:t>
    </dgm:pt>
    <dgm:pt modelId="{262E16A5-0A58-44AE-8F68-846A350B14D5}" type="pres">
      <dgm:prSet presAssocID="{053D5199-298E-4085-830B-26E831455299}" presName="hierChild4" presStyleCnt="0"/>
      <dgm:spPr/>
    </dgm:pt>
    <dgm:pt modelId="{0CDD4118-6F49-4924-98A2-1A111C93F0C3}" type="pres">
      <dgm:prSet presAssocID="{692FEA41-F6E3-49D7-A3DA-BA3AA5AA3BE5}" presName="Name37" presStyleLbl="parChTrans1D3" presStyleIdx="3" presStyleCnt="10"/>
      <dgm:spPr/>
      <dgm:t>
        <a:bodyPr/>
        <a:lstStyle/>
        <a:p>
          <a:endParaRPr lang="es-EC"/>
        </a:p>
      </dgm:t>
    </dgm:pt>
    <dgm:pt modelId="{705607E2-ED4C-4793-ABB9-545797248D83}" type="pres">
      <dgm:prSet presAssocID="{E1B7CEA3-6F0D-4620-BEC9-897E7295FE73}" presName="hierRoot2" presStyleCnt="0">
        <dgm:presLayoutVars>
          <dgm:hierBranch val="init"/>
        </dgm:presLayoutVars>
      </dgm:prSet>
      <dgm:spPr/>
    </dgm:pt>
    <dgm:pt modelId="{BE703F17-24C3-44D7-A238-62F683702AFC}" type="pres">
      <dgm:prSet presAssocID="{E1B7CEA3-6F0D-4620-BEC9-897E7295FE73}" presName="rootComposite" presStyleCnt="0"/>
      <dgm:spPr/>
    </dgm:pt>
    <dgm:pt modelId="{A7EAE641-817A-4A16-BDB0-3CC35017334E}" type="pres">
      <dgm:prSet presAssocID="{E1B7CEA3-6F0D-4620-BEC9-897E7295FE73}" presName="rootText" presStyleLbl="node3" presStyleIdx="3" presStyleCnt="10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E9BD5EEB-59BA-4986-BE2D-3C3A34D5D059}" type="pres">
      <dgm:prSet presAssocID="{E1B7CEA3-6F0D-4620-BEC9-897E7295FE73}" presName="rootConnector" presStyleLbl="node3" presStyleIdx="3" presStyleCnt="10"/>
      <dgm:spPr/>
      <dgm:t>
        <a:bodyPr/>
        <a:lstStyle/>
        <a:p>
          <a:endParaRPr lang="es-EC"/>
        </a:p>
      </dgm:t>
    </dgm:pt>
    <dgm:pt modelId="{2873F820-79A5-4AFB-962E-E6EB969296E1}" type="pres">
      <dgm:prSet presAssocID="{E1B7CEA3-6F0D-4620-BEC9-897E7295FE73}" presName="hierChild4" presStyleCnt="0"/>
      <dgm:spPr/>
    </dgm:pt>
    <dgm:pt modelId="{0AA51811-0C94-48D8-BE3F-0EA5C30219DB}" type="pres">
      <dgm:prSet presAssocID="{5C222380-994E-4C50-B135-E70636B1B0D5}" presName="Name37" presStyleLbl="parChTrans1D4" presStyleIdx="7" presStyleCnt="13"/>
      <dgm:spPr/>
      <dgm:t>
        <a:bodyPr/>
        <a:lstStyle/>
        <a:p>
          <a:endParaRPr lang="es-EC"/>
        </a:p>
      </dgm:t>
    </dgm:pt>
    <dgm:pt modelId="{495118FB-65F9-4CDA-98F1-DCFE732342F2}" type="pres">
      <dgm:prSet presAssocID="{2CF39309-4E75-4DA8-830C-334D5EAA0F3E}" presName="hierRoot2" presStyleCnt="0">
        <dgm:presLayoutVars>
          <dgm:hierBranch val="init"/>
        </dgm:presLayoutVars>
      </dgm:prSet>
      <dgm:spPr/>
    </dgm:pt>
    <dgm:pt modelId="{0CEFE472-F8D3-42ED-9C77-1406F7122663}" type="pres">
      <dgm:prSet presAssocID="{2CF39309-4E75-4DA8-830C-334D5EAA0F3E}" presName="rootComposite" presStyleCnt="0"/>
      <dgm:spPr/>
    </dgm:pt>
    <dgm:pt modelId="{24AEF2B7-1A28-46DE-BCEB-452706CEDC62}" type="pres">
      <dgm:prSet presAssocID="{2CF39309-4E75-4DA8-830C-334D5EAA0F3E}" presName="rootText" presStyleLbl="node4" presStyleIdx="7" presStyleCnt="13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22964F39-33E9-4F04-881C-94EBE06D0EB3}" type="pres">
      <dgm:prSet presAssocID="{2CF39309-4E75-4DA8-830C-334D5EAA0F3E}" presName="rootConnector" presStyleLbl="node4" presStyleIdx="7" presStyleCnt="13"/>
      <dgm:spPr/>
      <dgm:t>
        <a:bodyPr/>
        <a:lstStyle/>
        <a:p>
          <a:endParaRPr lang="es-EC"/>
        </a:p>
      </dgm:t>
    </dgm:pt>
    <dgm:pt modelId="{9EBBF395-050D-4719-8126-B87628999E70}" type="pres">
      <dgm:prSet presAssocID="{2CF39309-4E75-4DA8-830C-334D5EAA0F3E}" presName="hierChild4" presStyleCnt="0"/>
      <dgm:spPr/>
    </dgm:pt>
    <dgm:pt modelId="{64D2B657-51C9-483E-B369-94DD7CE19178}" type="pres">
      <dgm:prSet presAssocID="{2CF39309-4E75-4DA8-830C-334D5EAA0F3E}" presName="hierChild5" presStyleCnt="0"/>
      <dgm:spPr/>
    </dgm:pt>
    <dgm:pt modelId="{CF1437CC-E0D0-4C3A-9FAB-3511AD49B4A3}" type="pres">
      <dgm:prSet presAssocID="{23B6031A-E46E-43DF-9B5D-74E0819450C6}" presName="Name37" presStyleLbl="parChTrans1D4" presStyleIdx="8" presStyleCnt="13"/>
      <dgm:spPr/>
      <dgm:t>
        <a:bodyPr/>
        <a:lstStyle/>
        <a:p>
          <a:endParaRPr lang="es-EC"/>
        </a:p>
      </dgm:t>
    </dgm:pt>
    <dgm:pt modelId="{5C504ECF-C929-4EC2-91AD-839506BFEE3C}" type="pres">
      <dgm:prSet presAssocID="{7A4CE0E5-AE29-472D-98D6-53E5DF681308}" presName="hierRoot2" presStyleCnt="0">
        <dgm:presLayoutVars>
          <dgm:hierBranch val="init"/>
        </dgm:presLayoutVars>
      </dgm:prSet>
      <dgm:spPr/>
    </dgm:pt>
    <dgm:pt modelId="{2278074C-2802-4FF7-B407-04F59F1144BD}" type="pres">
      <dgm:prSet presAssocID="{7A4CE0E5-AE29-472D-98D6-53E5DF681308}" presName="rootComposite" presStyleCnt="0"/>
      <dgm:spPr/>
    </dgm:pt>
    <dgm:pt modelId="{0A02E700-D178-4FE0-9386-8C3F9EAA5959}" type="pres">
      <dgm:prSet presAssocID="{7A4CE0E5-AE29-472D-98D6-53E5DF681308}" presName="rootText" presStyleLbl="node4" presStyleIdx="8" presStyleCnt="13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A794F37A-1A36-4E56-BAC3-66A40200BD2F}" type="pres">
      <dgm:prSet presAssocID="{7A4CE0E5-AE29-472D-98D6-53E5DF681308}" presName="rootConnector" presStyleLbl="node4" presStyleIdx="8" presStyleCnt="13"/>
      <dgm:spPr/>
      <dgm:t>
        <a:bodyPr/>
        <a:lstStyle/>
        <a:p>
          <a:endParaRPr lang="es-EC"/>
        </a:p>
      </dgm:t>
    </dgm:pt>
    <dgm:pt modelId="{9D53806F-FD66-4BA6-9A56-7B232371164F}" type="pres">
      <dgm:prSet presAssocID="{7A4CE0E5-AE29-472D-98D6-53E5DF681308}" presName="hierChild4" presStyleCnt="0"/>
      <dgm:spPr/>
    </dgm:pt>
    <dgm:pt modelId="{2A877C1B-C0B5-4856-81D4-04BDBDD4C158}" type="pres">
      <dgm:prSet presAssocID="{7A4CE0E5-AE29-472D-98D6-53E5DF681308}" presName="hierChild5" presStyleCnt="0"/>
      <dgm:spPr/>
    </dgm:pt>
    <dgm:pt modelId="{B71D0752-5A3B-4E18-BED7-FE28723C4173}" type="pres">
      <dgm:prSet presAssocID="{CD4FB902-6B53-4565-AFDB-632C5C6971B7}" presName="Name37" presStyleLbl="parChTrans1D4" presStyleIdx="9" presStyleCnt="13"/>
      <dgm:spPr/>
      <dgm:t>
        <a:bodyPr/>
        <a:lstStyle/>
        <a:p>
          <a:endParaRPr lang="es-EC"/>
        </a:p>
      </dgm:t>
    </dgm:pt>
    <dgm:pt modelId="{53344B27-DF0A-4B0F-989D-9EEC36BFCC94}" type="pres">
      <dgm:prSet presAssocID="{8706AA91-F2D2-4A2C-88B9-525DC9F356F4}" presName="hierRoot2" presStyleCnt="0">
        <dgm:presLayoutVars>
          <dgm:hierBranch val="init"/>
        </dgm:presLayoutVars>
      </dgm:prSet>
      <dgm:spPr/>
    </dgm:pt>
    <dgm:pt modelId="{93EB091F-3D6E-4017-9A58-8898643776C6}" type="pres">
      <dgm:prSet presAssocID="{8706AA91-F2D2-4A2C-88B9-525DC9F356F4}" presName="rootComposite" presStyleCnt="0"/>
      <dgm:spPr/>
    </dgm:pt>
    <dgm:pt modelId="{C3B837A2-B7B5-480F-B235-E3CD93CA8690}" type="pres">
      <dgm:prSet presAssocID="{8706AA91-F2D2-4A2C-88B9-525DC9F356F4}" presName="rootText" presStyleLbl="node4" presStyleIdx="9" presStyleCnt="13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A2D93008-9C97-46C2-BB76-C6ADD6A8971C}" type="pres">
      <dgm:prSet presAssocID="{8706AA91-F2D2-4A2C-88B9-525DC9F356F4}" presName="rootConnector" presStyleLbl="node4" presStyleIdx="9" presStyleCnt="13"/>
      <dgm:spPr/>
      <dgm:t>
        <a:bodyPr/>
        <a:lstStyle/>
        <a:p>
          <a:endParaRPr lang="es-EC"/>
        </a:p>
      </dgm:t>
    </dgm:pt>
    <dgm:pt modelId="{DEB259FD-D89A-45C3-A174-61ECF913E901}" type="pres">
      <dgm:prSet presAssocID="{8706AA91-F2D2-4A2C-88B9-525DC9F356F4}" presName="hierChild4" presStyleCnt="0"/>
      <dgm:spPr/>
    </dgm:pt>
    <dgm:pt modelId="{24C9D2CA-A71C-4FB7-A819-CBB896230EB7}" type="pres">
      <dgm:prSet presAssocID="{8706AA91-F2D2-4A2C-88B9-525DC9F356F4}" presName="hierChild5" presStyleCnt="0"/>
      <dgm:spPr/>
    </dgm:pt>
    <dgm:pt modelId="{690C02C0-B3D5-445A-823E-03849C7B193A}" type="pres">
      <dgm:prSet presAssocID="{E1B7CEA3-6F0D-4620-BEC9-897E7295FE73}" presName="hierChild5" presStyleCnt="0"/>
      <dgm:spPr/>
    </dgm:pt>
    <dgm:pt modelId="{2F0875C6-75CE-47D2-AFE9-D9E353C7FB5D}" type="pres">
      <dgm:prSet presAssocID="{94133B10-F41E-4B1F-B66A-7E48A23056C8}" presName="Name37" presStyleLbl="parChTrans1D3" presStyleIdx="4" presStyleCnt="10"/>
      <dgm:spPr/>
      <dgm:t>
        <a:bodyPr/>
        <a:lstStyle/>
        <a:p>
          <a:endParaRPr lang="es-EC"/>
        </a:p>
      </dgm:t>
    </dgm:pt>
    <dgm:pt modelId="{76A115EC-AEC1-44A2-B885-3EA6708A440C}" type="pres">
      <dgm:prSet presAssocID="{EA81A339-9DA4-4ED1-A691-9023FBAB6CDA}" presName="hierRoot2" presStyleCnt="0">
        <dgm:presLayoutVars>
          <dgm:hierBranch val="init"/>
        </dgm:presLayoutVars>
      </dgm:prSet>
      <dgm:spPr/>
    </dgm:pt>
    <dgm:pt modelId="{C93F7BA8-E92E-4968-B6D5-38F9E5DCBD84}" type="pres">
      <dgm:prSet presAssocID="{EA81A339-9DA4-4ED1-A691-9023FBAB6CDA}" presName="rootComposite" presStyleCnt="0"/>
      <dgm:spPr/>
    </dgm:pt>
    <dgm:pt modelId="{23E46AB4-2BC7-4F72-A0BD-565562DD4C9D}" type="pres">
      <dgm:prSet presAssocID="{EA81A339-9DA4-4ED1-A691-9023FBAB6CDA}" presName="rootText" presStyleLbl="node3" presStyleIdx="4" presStyleCnt="10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CD2EC320-985E-46EF-9C00-6CB199F40AB6}" type="pres">
      <dgm:prSet presAssocID="{EA81A339-9DA4-4ED1-A691-9023FBAB6CDA}" presName="rootConnector" presStyleLbl="node3" presStyleIdx="4" presStyleCnt="10"/>
      <dgm:spPr/>
      <dgm:t>
        <a:bodyPr/>
        <a:lstStyle/>
        <a:p>
          <a:endParaRPr lang="es-EC"/>
        </a:p>
      </dgm:t>
    </dgm:pt>
    <dgm:pt modelId="{B6C350E9-2A6D-4475-A276-BE83B55CCCAE}" type="pres">
      <dgm:prSet presAssocID="{EA81A339-9DA4-4ED1-A691-9023FBAB6CDA}" presName="hierChild4" presStyleCnt="0"/>
      <dgm:spPr/>
    </dgm:pt>
    <dgm:pt modelId="{9FB7A57F-04FD-4D8C-A284-8355DD93BE90}" type="pres">
      <dgm:prSet presAssocID="{12ECF636-FCEC-4E3C-8CF7-3BBA44A36317}" presName="Name37" presStyleLbl="parChTrans1D4" presStyleIdx="10" presStyleCnt="13"/>
      <dgm:spPr/>
      <dgm:t>
        <a:bodyPr/>
        <a:lstStyle/>
        <a:p>
          <a:endParaRPr lang="es-EC"/>
        </a:p>
      </dgm:t>
    </dgm:pt>
    <dgm:pt modelId="{58971158-1FEC-4009-8875-0BD1C9A26C10}" type="pres">
      <dgm:prSet presAssocID="{E875FE67-F02A-4D37-BED5-C189EBFBFB88}" presName="hierRoot2" presStyleCnt="0">
        <dgm:presLayoutVars>
          <dgm:hierBranch val="init"/>
        </dgm:presLayoutVars>
      </dgm:prSet>
      <dgm:spPr/>
    </dgm:pt>
    <dgm:pt modelId="{15B5EF4C-E952-4C97-B57F-914E1E22D5BF}" type="pres">
      <dgm:prSet presAssocID="{E875FE67-F02A-4D37-BED5-C189EBFBFB88}" presName="rootComposite" presStyleCnt="0"/>
      <dgm:spPr/>
    </dgm:pt>
    <dgm:pt modelId="{C5EBD4BB-DD6E-447C-9003-0590B16A1F1E}" type="pres">
      <dgm:prSet presAssocID="{E875FE67-F02A-4D37-BED5-C189EBFBFB88}" presName="rootText" presStyleLbl="node4" presStyleIdx="10" presStyleCnt="13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D08D18A7-1D37-4C35-A101-A8D9CD37EEEF}" type="pres">
      <dgm:prSet presAssocID="{E875FE67-F02A-4D37-BED5-C189EBFBFB88}" presName="rootConnector" presStyleLbl="node4" presStyleIdx="10" presStyleCnt="13"/>
      <dgm:spPr/>
      <dgm:t>
        <a:bodyPr/>
        <a:lstStyle/>
        <a:p>
          <a:endParaRPr lang="es-EC"/>
        </a:p>
      </dgm:t>
    </dgm:pt>
    <dgm:pt modelId="{6499118D-1B4E-4C0F-8C5D-7843A657B168}" type="pres">
      <dgm:prSet presAssocID="{E875FE67-F02A-4D37-BED5-C189EBFBFB88}" presName="hierChild4" presStyleCnt="0"/>
      <dgm:spPr/>
    </dgm:pt>
    <dgm:pt modelId="{53C54B2C-D1E7-4D3D-B554-4F558FA36FB0}" type="pres">
      <dgm:prSet presAssocID="{E875FE67-F02A-4D37-BED5-C189EBFBFB88}" presName="hierChild5" presStyleCnt="0"/>
      <dgm:spPr/>
    </dgm:pt>
    <dgm:pt modelId="{F5FD3453-98A1-427D-87CB-CE45290D2EE4}" type="pres">
      <dgm:prSet presAssocID="{9B65C358-B2E5-4A45-8876-5821A6436300}" presName="Name37" presStyleLbl="parChTrans1D4" presStyleIdx="11" presStyleCnt="13"/>
      <dgm:spPr/>
      <dgm:t>
        <a:bodyPr/>
        <a:lstStyle/>
        <a:p>
          <a:endParaRPr lang="es-EC"/>
        </a:p>
      </dgm:t>
    </dgm:pt>
    <dgm:pt modelId="{83EC0C1D-39F7-46DA-BDE8-DE7852FD6EDE}" type="pres">
      <dgm:prSet presAssocID="{1333DBA3-21F2-4801-A69F-15DCD05A2676}" presName="hierRoot2" presStyleCnt="0">
        <dgm:presLayoutVars>
          <dgm:hierBranch val="init"/>
        </dgm:presLayoutVars>
      </dgm:prSet>
      <dgm:spPr/>
    </dgm:pt>
    <dgm:pt modelId="{246BFF35-77BC-4E1B-8E40-90A3656C8DBD}" type="pres">
      <dgm:prSet presAssocID="{1333DBA3-21F2-4801-A69F-15DCD05A2676}" presName="rootComposite" presStyleCnt="0"/>
      <dgm:spPr/>
    </dgm:pt>
    <dgm:pt modelId="{452D2365-1F0C-47C8-BC75-E0D858C48EC0}" type="pres">
      <dgm:prSet presAssocID="{1333DBA3-21F2-4801-A69F-15DCD05A2676}" presName="rootText" presStyleLbl="node4" presStyleIdx="11" presStyleCnt="13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D9EAFEBE-6212-4371-A236-75FF674D2DB6}" type="pres">
      <dgm:prSet presAssocID="{1333DBA3-21F2-4801-A69F-15DCD05A2676}" presName="rootConnector" presStyleLbl="node4" presStyleIdx="11" presStyleCnt="13"/>
      <dgm:spPr/>
      <dgm:t>
        <a:bodyPr/>
        <a:lstStyle/>
        <a:p>
          <a:endParaRPr lang="es-EC"/>
        </a:p>
      </dgm:t>
    </dgm:pt>
    <dgm:pt modelId="{F3DA214E-16AF-46CA-88D0-3D4DD9907C4F}" type="pres">
      <dgm:prSet presAssocID="{1333DBA3-21F2-4801-A69F-15DCD05A2676}" presName="hierChild4" presStyleCnt="0"/>
      <dgm:spPr/>
    </dgm:pt>
    <dgm:pt modelId="{11124DBB-D590-4D32-B4DE-011ABC8EC975}" type="pres">
      <dgm:prSet presAssocID="{1333DBA3-21F2-4801-A69F-15DCD05A2676}" presName="hierChild5" presStyleCnt="0"/>
      <dgm:spPr/>
    </dgm:pt>
    <dgm:pt modelId="{80FA5151-CEB9-4F80-B488-8CFF26368DCB}" type="pres">
      <dgm:prSet presAssocID="{EA81A339-9DA4-4ED1-A691-9023FBAB6CDA}" presName="hierChild5" presStyleCnt="0"/>
      <dgm:spPr/>
    </dgm:pt>
    <dgm:pt modelId="{3BEE921D-EC88-4069-A48A-577B055BEAFF}" type="pres">
      <dgm:prSet presAssocID="{2F3C05C8-A630-4634-9552-EB695B618E62}" presName="Name37" presStyleLbl="parChTrans1D3" presStyleIdx="5" presStyleCnt="10"/>
      <dgm:spPr/>
      <dgm:t>
        <a:bodyPr/>
        <a:lstStyle/>
        <a:p>
          <a:endParaRPr lang="es-EC"/>
        </a:p>
      </dgm:t>
    </dgm:pt>
    <dgm:pt modelId="{B65C1588-DD9F-4F05-92EA-0EBD940481D1}" type="pres">
      <dgm:prSet presAssocID="{F23F3DEC-2A69-4A91-93A3-F743E4667D3B}" presName="hierRoot2" presStyleCnt="0">
        <dgm:presLayoutVars>
          <dgm:hierBranch val="init"/>
        </dgm:presLayoutVars>
      </dgm:prSet>
      <dgm:spPr/>
    </dgm:pt>
    <dgm:pt modelId="{7E14B9B4-3047-47EF-9035-DB1C41690C14}" type="pres">
      <dgm:prSet presAssocID="{F23F3DEC-2A69-4A91-93A3-F743E4667D3B}" presName="rootComposite" presStyleCnt="0"/>
      <dgm:spPr/>
    </dgm:pt>
    <dgm:pt modelId="{AE331054-3CC5-4965-A7FD-374CC4F34E6C}" type="pres">
      <dgm:prSet presAssocID="{F23F3DEC-2A69-4A91-93A3-F743E4667D3B}" presName="rootText" presStyleLbl="node3" presStyleIdx="5" presStyleCnt="10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94BFA216-C632-4CED-8A32-EEB9ADA44A2A}" type="pres">
      <dgm:prSet presAssocID="{F23F3DEC-2A69-4A91-93A3-F743E4667D3B}" presName="rootConnector" presStyleLbl="node3" presStyleIdx="5" presStyleCnt="10"/>
      <dgm:spPr/>
      <dgm:t>
        <a:bodyPr/>
        <a:lstStyle/>
        <a:p>
          <a:endParaRPr lang="es-EC"/>
        </a:p>
      </dgm:t>
    </dgm:pt>
    <dgm:pt modelId="{7FC0665B-23B2-42E3-A051-AE3AB3985714}" type="pres">
      <dgm:prSet presAssocID="{F23F3DEC-2A69-4A91-93A3-F743E4667D3B}" presName="hierChild4" presStyleCnt="0"/>
      <dgm:spPr/>
    </dgm:pt>
    <dgm:pt modelId="{9FC35EDF-9CEB-4CD5-B41E-1B83F2EE6B54}" type="pres">
      <dgm:prSet presAssocID="{40D1E555-2028-4067-9932-8274BB074C2F}" presName="Name37" presStyleLbl="parChTrans1D4" presStyleIdx="12" presStyleCnt="13"/>
      <dgm:spPr/>
      <dgm:t>
        <a:bodyPr/>
        <a:lstStyle/>
        <a:p>
          <a:endParaRPr lang="es-EC"/>
        </a:p>
      </dgm:t>
    </dgm:pt>
    <dgm:pt modelId="{F93215F1-E966-4979-A94D-496A4D7CA8AE}" type="pres">
      <dgm:prSet presAssocID="{A73C13EC-F59E-4C95-BAF0-9A73383C04ED}" presName="hierRoot2" presStyleCnt="0">
        <dgm:presLayoutVars>
          <dgm:hierBranch val="init"/>
        </dgm:presLayoutVars>
      </dgm:prSet>
      <dgm:spPr/>
    </dgm:pt>
    <dgm:pt modelId="{812037B3-B1F2-44D7-846E-2142D3546F31}" type="pres">
      <dgm:prSet presAssocID="{A73C13EC-F59E-4C95-BAF0-9A73383C04ED}" presName="rootComposite" presStyleCnt="0"/>
      <dgm:spPr/>
    </dgm:pt>
    <dgm:pt modelId="{1EACED9F-45AA-4738-A095-D53E65A6F046}" type="pres">
      <dgm:prSet presAssocID="{A73C13EC-F59E-4C95-BAF0-9A73383C04ED}" presName="rootText" presStyleLbl="node4" presStyleIdx="12" presStyleCnt="13">
        <dgm:presLayoutVars>
          <dgm:chPref val="3"/>
        </dgm:presLayoutVars>
      </dgm:prSet>
      <dgm:spPr/>
      <dgm:t>
        <a:bodyPr/>
        <a:lstStyle/>
        <a:p>
          <a:endParaRPr lang="es-EC"/>
        </a:p>
      </dgm:t>
    </dgm:pt>
    <dgm:pt modelId="{A1BC6817-0BD5-43FA-969D-E481BDB82D64}" type="pres">
      <dgm:prSet presAssocID="{A73C13EC-F59E-4C95-BAF0-9A73383C04ED}" presName="rootConnector" presStyleLbl="node4" presStyleIdx="12" presStyleCnt="13"/>
      <dgm:spPr/>
      <dgm:t>
        <a:bodyPr/>
        <a:lstStyle/>
        <a:p>
          <a:endParaRPr lang="es-EC"/>
        </a:p>
      </dgm:t>
    </dgm:pt>
    <dgm:pt modelId="{351D9DE8-F3D8-4B91-8DE6-3D899AA32D6E}" type="pres">
      <dgm:prSet presAssocID="{A73C13EC-F59E-4C95-BAF0-9A73383C04ED}" presName="hierChild4" presStyleCnt="0"/>
      <dgm:spPr/>
    </dgm:pt>
    <dgm:pt modelId="{04A4FC39-5F49-4C87-AA2B-DE4011E9B68D}" type="pres">
      <dgm:prSet presAssocID="{A73C13EC-F59E-4C95-BAF0-9A73383C04ED}" presName="hierChild5" presStyleCnt="0"/>
      <dgm:spPr/>
    </dgm:pt>
    <dgm:pt modelId="{C42B81AE-EBF7-48D3-ABF7-7E2FD84EDB36}" type="pres">
      <dgm:prSet presAssocID="{F23F3DEC-2A69-4A91-93A3-F743E4667D3B}" presName="hierChild5" presStyleCnt="0"/>
      <dgm:spPr/>
    </dgm:pt>
    <dgm:pt modelId="{6830FC4E-88DB-44AE-BCED-9BA156CAAC6E}" type="pres">
      <dgm:prSet presAssocID="{053D5199-298E-4085-830B-26E831455299}" presName="hierChild5" presStyleCnt="0"/>
      <dgm:spPr/>
    </dgm:pt>
    <dgm:pt modelId="{1052345D-6021-40D9-8F3E-F20BE1D5235C}" type="pres">
      <dgm:prSet presAssocID="{1AA01950-6A79-4A12-9E5B-553E9DAC71E6}" presName="Name37" presStyleLbl="parChTrans1D2" presStyleIdx="2" presStyleCnt="3"/>
      <dgm:spPr/>
      <dgm:t>
        <a:bodyPr/>
        <a:lstStyle/>
        <a:p>
          <a:endParaRPr lang="es-CO"/>
        </a:p>
      </dgm:t>
    </dgm:pt>
    <dgm:pt modelId="{5704068C-5373-439A-BE1C-D195E06B2C63}" type="pres">
      <dgm:prSet presAssocID="{1C240F20-5AC7-4FB3-A766-BBF0DCFF63DF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A0B6CA1A-CD14-4D59-9B42-E71393BA4150}" type="pres">
      <dgm:prSet presAssocID="{1C240F20-5AC7-4FB3-A766-BBF0DCFF63DF}" presName="rootComposite" presStyleCnt="0"/>
      <dgm:spPr/>
      <dgm:t>
        <a:bodyPr/>
        <a:lstStyle/>
        <a:p>
          <a:endParaRPr lang="es-CO"/>
        </a:p>
      </dgm:t>
    </dgm:pt>
    <dgm:pt modelId="{DCCA19C8-DAEA-4CEE-8EC1-53A82197CDCB}" type="pres">
      <dgm:prSet presAssocID="{1C240F20-5AC7-4FB3-A766-BBF0DCFF63DF}" presName="rootText" presStyleLbl="node2" presStyleIdx="2" presStyleCnt="3" custLinFactNeighborX="-290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74AD20FE-00DC-4632-A6F3-EBCE69896850}" type="pres">
      <dgm:prSet presAssocID="{1C240F20-5AC7-4FB3-A766-BBF0DCFF63DF}" presName="rootConnector" presStyleLbl="node2" presStyleIdx="2" presStyleCnt="3"/>
      <dgm:spPr/>
      <dgm:t>
        <a:bodyPr/>
        <a:lstStyle/>
        <a:p>
          <a:endParaRPr lang="es-CO"/>
        </a:p>
      </dgm:t>
    </dgm:pt>
    <dgm:pt modelId="{BA7A92D9-805F-4CE2-B3A0-329DAA1CB291}" type="pres">
      <dgm:prSet presAssocID="{1C240F20-5AC7-4FB3-A766-BBF0DCFF63DF}" presName="hierChild4" presStyleCnt="0"/>
      <dgm:spPr/>
      <dgm:t>
        <a:bodyPr/>
        <a:lstStyle/>
        <a:p>
          <a:endParaRPr lang="es-CO"/>
        </a:p>
      </dgm:t>
    </dgm:pt>
    <dgm:pt modelId="{D14C10F2-AC59-4891-9F47-01AB070BFE50}" type="pres">
      <dgm:prSet presAssocID="{5E14C847-8F60-498E-8CAC-93D0939EE473}" presName="Name37" presStyleLbl="parChTrans1D3" presStyleIdx="6" presStyleCnt="10"/>
      <dgm:spPr/>
      <dgm:t>
        <a:bodyPr/>
        <a:lstStyle/>
        <a:p>
          <a:endParaRPr lang="es-CO"/>
        </a:p>
      </dgm:t>
    </dgm:pt>
    <dgm:pt modelId="{3A2775AA-C87E-4749-8DC1-B0F38C2677FA}" type="pres">
      <dgm:prSet presAssocID="{2BA6616A-E4ED-4D8F-8E7B-B4A7C4010591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65814CA1-9A27-4F13-AA45-306030A0C834}" type="pres">
      <dgm:prSet presAssocID="{2BA6616A-E4ED-4D8F-8E7B-B4A7C4010591}" presName="rootComposite" presStyleCnt="0"/>
      <dgm:spPr/>
      <dgm:t>
        <a:bodyPr/>
        <a:lstStyle/>
        <a:p>
          <a:endParaRPr lang="es-CO"/>
        </a:p>
      </dgm:t>
    </dgm:pt>
    <dgm:pt modelId="{1F2E0818-82CF-44DB-8D4D-0547759EB28E}" type="pres">
      <dgm:prSet presAssocID="{2BA6616A-E4ED-4D8F-8E7B-B4A7C4010591}" presName="rootText" presStyleLbl="node3" presStyleIdx="6" presStyleCnt="10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2774E4E8-0514-4D43-9FD0-504860F3E41D}" type="pres">
      <dgm:prSet presAssocID="{2BA6616A-E4ED-4D8F-8E7B-B4A7C4010591}" presName="rootConnector" presStyleLbl="node3" presStyleIdx="6" presStyleCnt="10"/>
      <dgm:spPr/>
      <dgm:t>
        <a:bodyPr/>
        <a:lstStyle/>
        <a:p>
          <a:endParaRPr lang="es-CO"/>
        </a:p>
      </dgm:t>
    </dgm:pt>
    <dgm:pt modelId="{A7865541-5033-44DA-8DB8-4BFC70E4D1A0}" type="pres">
      <dgm:prSet presAssocID="{2BA6616A-E4ED-4D8F-8E7B-B4A7C4010591}" presName="hierChild4" presStyleCnt="0"/>
      <dgm:spPr/>
      <dgm:t>
        <a:bodyPr/>
        <a:lstStyle/>
        <a:p>
          <a:endParaRPr lang="es-CO"/>
        </a:p>
      </dgm:t>
    </dgm:pt>
    <dgm:pt modelId="{73E0B1A3-1937-40C2-9864-47968FC052EC}" type="pres">
      <dgm:prSet presAssocID="{2BA6616A-E4ED-4D8F-8E7B-B4A7C4010591}" presName="hierChild5" presStyleCnt="0"/>
      <dgm:spPr/>
      <dgm:t>
        <a:bodyPr/>
        <a:lstStyle/>
        <a:p>
          <a:endParaRPr lang="es-CO"/>
        </a:p>
      </dgm:t>
    </dgm:pt>
    <dgm:pt modelId="{7F8F6D74-C13C-4013-837D-20E5BF367539}" type="pres">
      <dgm:prSet presAssocID="{E147513A-95C6-4D8E-80C9-26C716D20FEA}" presName="Name37" presStyleLbl="parChTrans1D3" presStyleIdx="7" presStyleCnt="10"/>
      <dgm:spPr/>
      <dgm:t>
        <a:bodyPr/>
        <a:lstStyle/>
        <a:p>
          <a:endParaRPr lang="es-CO"/>
        </a:p>
      </dgm:t>
    </dgm:pt>
    <dgm:pt modelId="{184A3621-87F7-45EC-8F45-F3CDD21C82B3}" type="pres">
      <dgm:prSet presAssocID="{421D9C09-DAD4-45A8-8E19-23F3E22AEDD0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8FD188E8-2338-4285-B0C9-6287A14BB357}" type="pres">
      <dgm:prSet presAssocID="{421D9C09-DAD4-45A8-8E19-23F3E22AEDD0}" presName="rootComposite" presStyleCnt="0"/>
      <dgm:spPr/>
      <dgm:t>
        <a:bodyPr/>
        <a:lstStyle/>
        <a:p>
          <a:endParaRPr lang="es-CO"/>
        </a:p>
      </dgm:t>
    </dgm:pt>
    <dgm:pt modelId="{0083670F-276F-4969-A67E-8FAE69D9A035}" type="pres">
      <dgm:prSet presAssocID="{421D9C09-DAD4-45A8-8E19-23F3E22AEDD0}" presName="rootText" presStyleLbl="node3" presStyleIdx="7" presStyleCnt="10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D0608D7F-40E4-45F6-8F7D-4F05BA90C95D}" type="pres">
      <dgm:prSet presAssocID="{421D9C09-DAD4-45A8-8E19-23F3E22AEDD0}" presName="rootConnector" presStyleLbl="node3" presStyleIdx="7" presStyleCnt="10"/>
      <dgm:spPr/>
      <dgm:t>
        <a:bodyPr/>
        <a:lstStyle/>
        <a:p>
          <a:endParaRPr lang="es-CO"/>
        </a:p>
      </dgm:t>
    </dgm:pt>
    <dgm:pt modelId="{9A323898-FABE-4794-80B9-C7391C74B70A}" type="pres">
      <dgm:prSet presAssocID="{421D9C09-DAD4-45A8-8E19-23F3E22AEDD0}" presName="hierChild4" presStyleCnt="0"/>
      <dgm:spPr/>
      <dgm:t>
        <a:bodyPr/>
        <a:lstStyle/>
        <a:p>
          <a:endParaRPr lang="es-CO"/>
        </a:p>
      </dgm:t>
    </dgm:pt>
    <dgm:pt modelId="{D33F40B8-72E0-4C01-962B-D3849DA098A1}" type="pres">
      <dgm:prSet presAssocID="{421D9C09-DAD4-45A8-8E19-23F3E22AEDD0}" presName="hierChild5" presStyleCnt="0"/>
      <dgm:spPr/>
      <dgm:t>
        <a:bodyPr/>
        <a:lstStyle/>
        <a:p>
          <a:endParaRPr lang="es-CO"/>
        </a:p>
      </dgm:t>
    </dgm:pt>
    <dgm:pt modelId="{24916716-BAA7-4EDA-A7C7-2AA285EEAAB6}" type="pres">
      <dgm:prSet presAssocID="{69BFE459-F03E-4378-A227-8A68C95F2D42}" presName="Name37" presStyleLbl="parChTrans1D3" presStyleIdx="8" presStyleCnt="10"/>
      <dgm:spPr/>
      <dgm:t>
        <a:bodyPr/>
        <a:lstStyle/>
        <a:p>
          <a:endParaRPr lang="es-CO"/>
        </a:p>
      </dgm:t>
    </dgm:pt>
    <dgm:pt modelId="{A4AC2FB7-CA3D-4433-890C-033FDAF447B8}" type="pres">
      <dgm:prSet presAssocID="{1F7E272D-2874-4AB6-A8C2-763D9CF5E63F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F2BF08AA-9EF5-4565-9905-C3C967813F13}" type="pres">
      <dgm:prSet presAssocID="{1F7E272D-2874-4AB6-A8C2-763D9CF5E63F}" presName="rootComposite" presStyleCnt="0"/>
      <dgm:spPr/>
      <dgm:t>
        <a:bodyPr/>
        <a:lstStyle/>
        <a:p>
          <a:endParaRPr lang="es-CO"/>
        </a:p>
      </dgm:t>
    </dgm:pt>
    <dgm:pt modelId="{8230B030-3729-4EA0-AE8B-ECAD64297E49}" type="pres">
      <dgm:prSet presAssocID="{1F7E272D-2874-4AB6-A8C2-763D9CF5E63F}" presName="rootText" presStyleLbl="node3" presStyleIdx="8" presStyleCnt="10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2A9495AE-BFFE-4AA3-8F0F-DE22EA21B7B1}" type="pres">
      <dgm:prSet presAssocID="{1F7E272D-2874-4AB6-A8C2-763D9CF5E63F}" presName="rootConnector" presStyleLbl="node3" presStyleIdx="8" presStyleCnt="10"/>
      <dgm:spPr/>
      <dgm:t>
        <a:bodyPr/>
        <a:lstStyle/>
        <a:p>
          <a:endParaRPr lang="es-CO"/>
        </a:p>
      </dgm:t>
    </dgm:pt>
    <dgm:pt modelId="{273A9E1F-0FC6-4F9E-AB1E-45F588F6C37E}" type="pres">
      <dgm:prSet presAssocID="{1F7E272D-2874-4AB6-A8C2-763D9CF5E63F}" presName="hierChild4" presStyleCnt="0"/>
      <dgm:spPr/>
      <dgm:t>
        <a:bodyPr/>
        <a:lstStyle/>
        <a:p>
          <a:endParaRPr lang="es-CO"/>
        </a:p>
      </dgm:t>
    </dgm:pt>
    <dgm:pt modelId="{105DF9B7-F854-4D8C-B7AA-8C94EC697A8D}" type="pres">
      <dgm:prSet presAssocID="{1F7E272D-2874-4AB6-A8C2-763D9CF5E63F}" presName="hierChild5" presStyleCnt="0"/>
      <dgm:spPr/>
      <dgm:t>
        <a:bodyPr/>
        <a:lstStyle/>
        <a:p>
          <a:endParaRPr lang="es-CO"/>
        </a:p>
      </dgm:t>
    </dgm:pt>
    <dgm:pt modelId="{076140BA-3AB5-4032-BD96-DF397EECFA59}" type="pres">
      <dgm:prSet presAssocID="{74B7F445-A039-4069-AC5A-4407ED4549FF}" presName="Name37" presStyleLbl="parChTrans1D3" presStyleIdx="9" presStyleCnt="10"/>
      <dgm:spPr/>
      <dgm:t>
        <a:bodyPr/>
        <a:lstStyle/>
        <a:p>
          <a:endParaRPr lang="es-CO"/>
        </a:p>
      </dgm:t>
    </dgm:pt>
    <dgm:pt modelId="{20E9B2A9-6D20-41CF-9028-A6221EEE62B3}" type="pres">
      <dgm:prSet presAssocID="{312C5781-2657-4390-B069-9705FB614D5D}" presName="hierRoot2" presStyleCnt="0">
        <dgm:presLayoutVars>
          <dgm:hierBranch val="init"/>
        </dgm:presLayoutVars>
      </dgm:prSet>
      <dgm:spPr/>
      <dgm:t>
        <a:bodyPr/>
        <a:lstStyle/>
        <a:p>
          <a:endParaRPr lang="es-CO"/>
        </a:p>
      </dgm:t>
    </dgm:pt>
    <dgm:pt modelId="{59BDBBFF-3A7A-4346-94D3-1013266D3E1F}" type="pres">
      <dgm:prSet presAssocID="{312C5781-2657-4390-B069-9705FB614D5D}" presName="rootComposite" presStyleCnt="0"/>
      <dgm:spPr/>
      <dgm:t>
        <a:bodyPr/>
        <a:lstStyle/>
        <a:p>
          <a:endParaRPr lang="es-CO"/>
        </a:p>
      </dgm:t>
    </dgm:pt>
    <dgm:pt modelId="{3B3CD384-F419-4DEE-B619-7BAD91E43B1E}" type="pres">
      <dgm:prSet presAssocID="{312C5781-2657-4390-B069-9705FB614D5D}" presName="rootText" presStyleLbl="node3" presStyleIdx="9" presStyleCnt="10">
        <dgm:presLayoutVars>
          <dgm:chPref val="3"/>
        </dgm:presLayoutVars>
      </dgm:prSet>
      <dgm:spPr/>
      <dgm:t>
        <a:bodyPr/>
        <a:lstStyle/>
        <a:p>
          <a:endParaRPr lang="es-CO"/>
        </a:p>
      </dgm:t>
    </dgm:pt>
    <dgm:pt modelId="{749EAC46-F2A3-4D8F-BFA9-6B4E4C73AC2A}" type="pres">
      <dgm:prSet presAssocID="{312C5781-2657-4390-B069-9705FB614D5D}" presName="rootConnector" presStyleLbl="node3" presStyleIdx="9" presStyleCnt="10"/>
      <dgm:spPr/>
      <dgm:t>
        <a:bodyPr/>
        <a:lstStyle/>
        <a:p>
          <a:endParaRPr lang="es-CO"/>
        </a:p>
      </dgm:t>
    </dgm:pt>
    <dgm:pt modelId="{0C54159C-7D72-4138-B046-31C679FA808C}" type="pres">
      <dgm:prSet presAssocID="{312C5781-2657-4390-B069-9705FB614D5D}" presName="hierChild4" presStyleCnt="0"/>
      <dgm:spPr/>
      <dgm:t>
        <a:bodyPr/>
        <a:lstStyle/>
        <a:p>
          <a:endParaRPr lang="es-CO"/>
        </a:p>
      </dgm:t>
    </dgm:pt>
    <dgm:pt modelId="{88C2FDDC-A2B5-4BE4-8C01-5E384244C91E}" type="pres">
      <dgm:prSet presAssocID="{312C5781-2657-4390-B069-9705FB614D5D}" presName="hierChild5" presStyleCnt="0"/>
      <dgm:spPr/>
      <dgm:t>
        <a:bodyPr/>
        <a:lstStyle/>
        <a:p>
          <a:endParaRPr lang="es-CO"/>
        </a:p>
      </dgm:t>
    </dgm:pt>
    <dgm:pt modelId="{E96D44C0-6565-4B57-B540-EC24357D6239}" type="pres">
      <dgm:prSet presAssocID="{1C240F20-5AC7-4FB3-A766-BBF0DCFF63DF}" presName="hierChild5" presStyleCnt="0"/>
      <dgm:spPr/>
      <dgm:t>
        <a:bodyPr/>
        <a:lstStyle/>
        <a:p>
          <a:endParaRPr lang="es-CO"/>
        </a:p>
      </dgm:t>
    </dgm:pt>
    <dgm:pt modelId="{92B70AA8-6635-4507-9DAD-CFBF31088868}" type="pres">
      <dgm:prSet presAssocID="{FD41F262-0416-425C-8D22-93E7DE9F2F99}" presName="hierChild3" presStyleCnt="0"/>
      <dgm:spPr/>
    </dgm:pt>
  </dgm:ptLst>
  <dgm:cxnLst>
    <dgm:cxn modelId="{12935E1F-576F-487F-AC86-74A21AC98E2D}" type="presOf" srcId="{301A1366-CADE-4D06-AC17-8E70961526AA}" destId="{144F457F-721E-4B2B-ADD6-7E949BF6AEAA}" srcOrd="0" destOrd="0" presId="urn:microsoft.com/office/officeart/2005/8/layout/orgChart1"/>
    <dgm:cxn modelId="{EF440B30-C810-4968-AD38-775C74E11C25}" type="presOf" srcId="{1333DBA3-21F2-4801-A69F-15DCD05A2676}" destId="{D9EAFEBE-6212-4371-A236-75FF674D2DB6}" srcOrd="1" destOrd="0" presId="urn:microsoft.com/office/officeart/2005/8/layout/orgChart1"/>
    <dgm:cxn modelId="{E04FFA74-8528-4522-B52B-E1C53313B242}" srcId="{1C240F20-5AC7-4FB3-A766-BBF0DCFF63DF}" destId="{2BA6616A-E4ED-4D8F-8E7B-B4A7C4010591}" srcOrd="0" destOrd="0" parTransId="{5E14C847-8F60-498E-8CAC-93D0939EE473}" sibTransId="{90187D6F-11B2-4319-A2E5-464EA474EC6E}"/>
    <dgm:cxn modelId="{70F7BCD9-FADB-4C68-9612-D4785243F539}" type="presOf" srcId="{0285C9EE-55DF-40F2-A4C1-C2A372DF007E}" destId="{E9669082-443A-49A1-8E31-C4111753FA5B}" srcOrd="0" destOrd="0" presId="urn:microsoft.com/office/officeart/2005/8/layout/orgChart1"/>
    <dgm:cxn modelId="{9D5D906A-35EA-4626-BC94-2C33674507ED}" type="presOf" srcId="{23EEEF8F-6736-4E53-9372-B1ED9C04AD32}" destId="{71116FFC-9927-4495-B57C-875E6EC24DA7}" srcOrd="0" destOrd="0" presId="urn:microsoft.com/office/officeart/2005/8/layout/orgChart1"/>
    <dgm:cxn modelId="{DA4F2074-B17C-40D9-87B7-6D991C2EF501}" type="presOf" srcId="{40D61938-5CBF-407C-97EF-399C0781B178}" destId="{143CC701-1B38-405D-9C68-AAB4A5CCB58B}" srcOrd="0" destOrd="0" presId="urn:microsoft.com/office/officeart/2005/8/layout/orgChart1"/>
    <dgm:cxn modelId="{EA9269BC-41E3-4ED7-BB01-85A13C0CBC10}" srcId="{1C240F20-5AC7-4FB3-A766-BBF0DCFF63DF}" destId="{312C5781-2657-4390-B069-9705FB614D5D}" srcOrd="3" destOrd="0" parTransId="{74B7F445-A039-4069-AC5A-4407ED4549FF}" sibTransId="{DF98CFA3-A41A-42BC-8B58-313CE3EBF66F}"/>
    <dgm:cxn modelId="{F8F97912-10B5-4B4B-82E4-498E36652E08}" type="presOf" srcId="{94133B10-F41E-4B1F-B66A-7E48A23056C8}" destId="{2F0875C6-75CE-47D2-AFE9-D9E353C7FB5D}" srcOrd="0" destOrd="0" presId="urn:microsoft.com/office/officeart/2005/8/layout/orgChart1"/>
    <dgm:cxn modelId="{B304CEAD-6B2F-4451-B53F-A1FDF84323AC}" type="presOf" srcId="{2CF39309-4E75-4DA8-830C-334D5EAA0F3E}" destId="{22964F39-33E9-4F04-881C-94EBE06D0EB3}" srcOrd="1" destOrd="0" presId="urn:microsoft.com/office/officeart/2005/8/layout/orgChart1"/>
    <dgm:cxn modelId="{01CC19BB-4A40-4B7F-89D7-76F61F844C62}" type="presOf" srcId="{CD4FB902-6B53-4565-AFDB-632C5C6971B7}" destId="{B71D0752-5A3B-4E18-BED7-FE28723C4173}" srcOrd="0" destOrd="0" presId="urn:microsoft.com/office/officeart/2005/8/layout/orgChart1"/>
    <dgm:cxn modelId="{8A15A62E-244E-4131-968E-C44D104148DE}" type="presOf" srcId="{5C222380-994E-4C50-B135-E70636B1B0D5}" destId="{0AA51811-0C94-48D8-BE3F-0EA5C30219DB}" srcOrd="0" destOrd="0" presId="urn:microsoft.com/office/officeart/2005/8/layout/orgChart1"/>
    <dgm:cxn modelId="{39165E2C-BBF8-4FE3-9365-EF44F616CEB7}" srcId="{29D0AD0F-C607-4E24-84B2-06D56C2A79F3}" destId="{650C56BF-EA07-4044-A270-4C757F618744}" srcOrd="2" destOrd="0" parTransId="{D3ACE48C-1367-44EF-998B-72D79DDDBADC}" sibTransId="{B02C743A-E20B-49CA-9961-755CDEA9E335}"/>
    <dgm:cxn modelId="{BAFABB0D-B8CE-4273-850D-0FD80CB711CD}" type="presOf" srcId="{7A4CE0E5-AE29-472D-98D6-53E5DF681308}" destId="{A794F37A-1A36-4E56-BAC3-66A40200BD2F}" srcOrd="1" destOrd="0" presId="urn:microsoft.com/office/officeart/2005/8/layout/orgChart1"/>
    <dgm:cxn modelId="{3609305D-1E61-4A80-B7D8-1E6FE67A7E26}" srcId="{A86C71EA-5671-46B4-A9A4-44DD198AC0DB}" destId="{23EEEF8F-6736-4E53-9372-B1ED9C04AD32}" srcOrd="0" destOrd="0" parTransId="{68F581CD-2FEA-4E3E-89E1-31C4BD0A4894}" sibTransId="{86CFBBC3-94AD-4A74-8640-87C8B7EF373C}"/>
    <dgm:cxn modelId="{25584B73-FFC0-47B1-A7FA-9976A854B697}" srcId="{1C240F20-5AC7-4FB3-A766-BBF0DCFF63DF}" destId="{421D9C09-DAD4-45A8-8E19-23F3E22AEDD0}" srcOrd="1" destOrd="0" parTransId="{E147513A-95C6-4D8E-80C9-26C716D20FEA}" sibTransId="{8DBD1B34-5FB2-4FAC-9215-E86567390752}"/>
    <dgm:cxn modelId="{4A30C04B-A4E0-4691-AB32-EE95AE337448}" type="presOf" srcId="{2BA6616A-E4ED-4D8F-8E7B-B4A7C4010591}" destId="{2774E4E8-0514-4D43-9FD0-504860F3E41D}" srcOrd="1" destOrd="0" presId="urn:microsoft.com/office/officeart/2005/8/layout/orgChart1"/>
    <dgm:cxn modelId="{525FC8B5-BEB9-4B83-A66D-4E81D9003CE2}" srcId="{E1B7CEA3-6F0D-4620-BEC9-897E7295FE73}" destId="{2CF39309-4E75-4DA8-830C-334D5EAA0F3E}" srcOrd="0" destOrd="0" parTransId="{5C222380-994E-4C50-B135-E70636B1B0D5}" sibTransId="{538E7779-7DFF-485F-99FF-82BCEE7B9DC2}"/>
    <dgm:cxn modelId="{1F7B90A8-D13E-4B7C-A05E-FC6D07221CD6}" type="presOf" srcId="{A86C71EA-5671-46B4-A9A4-44DD198AC0DB}" destId="{BB9F0B52-A9D6-494E-B7EB-1C3FCB05A4D7}" srcOrd="1" destOrd="0" presId="urn:microsoft.com/office/officeart/2005/8/layout/orgChart1"/>
    <dgm:cxn modelId="{5BF11F49-C671-4B1F-B6E5-3C3E4D95D654}" type="presOf" srcId="{650C56BF-EA07-4044-A270-4C757F618744}" destId="{7D19BB47-4EE2-4858-94DE-0E14374383FA}" srcOrd="0" destOrd="0" presId="urn:microsoft.com/office/officeart/2005/8/layout/orgChart1"/>
    <dgm:cxn modelId="{89C5A459-4C19-4B74-B102-2BEFAEC81642}" type="presOf" srcId="{23EEEF8F-6736-4E53-9372-B1ED9C04AD32}" destId="{4784CA01-8C1B-4040-851F-DB9CA38F4034}" srcOrd="1" destOrd="0" presId="urn:microsoft.com/office/officeart/2005/8/layout/orgChart1"/>
    <dgm:cxn modelId="{DFAF6A3C-3B77-4998-BD22-B869AEF35CC6}" type="presOf" srcId="{2CF39309-4E75-4DA8-830C-334D5EAA0F3E}" destId="{24AEF2B7-1A28-46DE-BCEB-452706CEDC62}" srcOrd="0" destOrd="0" presId="urn:microsoft.com/office/officeart/2005/8/layout/orgChart1"/>
    <dgm:cxn modelId="{B8C26F05-334D-4AF7-9544-5CA660F3232D}" type="presOf" srcId="{1C240F20-5AC7-4FB3-A766-BBF0DCFF63DF}" destId="{74AD20FE-00DC-4632-A6F3-EBCE69896850}" srcOrd="1" destOrd="0" presId="urn:microsoft.com/office/officeart/2005/8/layout/orgChart1"/>
    <dgm:cxn modelId="{FCBBEFE5-D863-4FAF-AAE5-E855A27FD3FE}" type="presOf" srcId="{421D9C09-DAD4-45A8-8E19-23F3E22AEDD0}" destId="{0083670F-276F-4969-A67E-8FAE69D9A035}" srcOrd="0" destOrd="0" presId="urn:microsoft.com/office/officeart/2005/8/layout/orgChart1"/>
    <dgm:cxn modelId="{5161A51B-2007-4E1A-AB18-4D3250CC4959}" srcId="{F7DBED64-7392-464F-822F-F1F8E8FB10A2}" destId="{FD41F262-0416-425C-8D22-93E7DE9F2F99}" srcOrd="0" destOrd="0" parTransId="{8521C421-FAEC-4109-89A3-4AB293C47F17}" sibTransId="{7EC87248-5CA2-483E-AD2B-130AF22BDA4D}"/>
    <dgm:cxn modelId="{BF2B752A-7D98-4420-8F9C-5162AD2A3424}" type="presOf" srcId="{2E4921BC-8EF5-4555-9B83-B10149059FC0}" destId="{38B62FF6-6468-4BB6-8042-BE1E3682E5BB}" srcOrd="1" destOrd="0" presId="urn:microsoft.com/office/officeart/2005/8/layout/orgChart1"/>
    <dgm:cxn modelId="{8678F81C-B357-410A-9F74-21B791E7A0BC}" type="presOf" srcId="{E875FE67-F02A-4D37-BED5-C189EBFBFB88}" destId="{D08D18A7-1D37-4C35-A101-A8D9CD37EEEF}" srcOrd="1" destOrd="0" presId="urn:microsoft.com/office/officeart/2005/8/layout/orgChart1"/>
    <dgm:cxn modelId="{0E4FFED2-3CD0-41EB-8CE3-C0C5598C4952}" type="presOf" srcId="{053D5199-298E-4085-830B-26E831455299}" destId="{D4AF10AE-8A6F-49A5-9C57-C9C89DFEA97F}" srcOrd="0" destOrd="0" presId="urn:microsoft.com/office/officeart/2005/8/layout/orgChart1"/>
    <dgm:cxn modelId="{86E9691C-8C46-44CC-88A0-CB53623DB5C8}" srcId="{23EEEF8F-6736-4E53-9372-B1ED9C04AD32}" destId="{8D0335C3-9540-4993-B14A-0980226DB26B}" srcOrd="0" destOrd="0" parTransId="{56AB6C16-F82D-441F-A9AE-E07BFF5F5688}" sibTransId="{F2017C24-73D1-4FD1-93B5-E3A33BAC8558}"/>
    <dgm:cxn modelId="{67C5F5FE-7740-46EE-BD42-1B86B0A2982D}" type="presOf" srcId="{3A03BADF-6CCB-43C6-A092-2955E91209BA}" destId="{06CA66EF-599C-4E28-ABCF-AC743FDFF894}" srcOrd="0" destOrd="0" presId="urn:microsoft.com/office/officeart/2005/8/layout/orgChart1"/>
    <dgm:cxn modelId="{A9AE40D4-BD45-407A-AB23-08465665A587}" type="presOf" srcId="{312C5781-2657-4390-B069-9705FB614D5D}" destId="{3B3CD384-F419-4DEE-B619-7BAD91E43B1E}" srcOrd="0" destOrd="0" presId="urn:microsoft.com/office/officeart/2005/8/layout/orgChart1"/>
    <dgm:cxn modelId="{389159FF-8AB1-44A7-A2CA-2B892A9959BC}" type="presOf" srcId="{EA81A339-9DA4-4ED1-A691-9023FBAB6CDA}" destId="{CD2EC320-985E-46EF-9C00-6CB199F40AB6}" srcOrd="1" destOrd="0" presId="urn:microsoft.com/office/officeart/2005/8/layout/orgChart1"/>
    <dgm:cxn modelId="{E727194E-242A-4F4D-B1BF-F4DC1DDCE228}" type="presOf" srcId="{E25FA487-D382-410A-915D-6B02DDBE3214}" destId="{38DD567D-1371-4142-898C-7582C80E5A42}" srcOrd="0" destOrd="0" presId="urn:microsoft.com/office/officeart/2005/8/layout/orgChart1"/>
    <dgm:cxn modelId="{B3EF3BE4-4E5B-453B-ABCA-CB7B3DC64D1A}" srcId="{053D5199-298E-4085-830B-26E831455299}" destId="{EA81A339-9DA4-4ED1-A691-9023FBAB6CDA}" srcOrd="1" destOrd="0" parTransId="{94133B10-F41E-4B1F-B66A-7E48A23056C8}" sibTransId="{CC2D44F9-9D5F-446D-9C35-C1F9681B9527}"/>
    <dgm:cxn modelId="{9A3AB66F-854A-454F-8216-70FB3BDE386E}" srcId="{3A03BADF-6CCB-43C6-A092-2955E91209BA}" destId="{2E4921BC-8EF5-4555-9B83-B10149059FC0}" srcOrd="0" destOrd="0" parTransId="{CD60E979-A548-4F73-9D5E-B934FEF0B4AA}" sibTransId="{5B77C5B4-CFC2-435D-A3A4-2061E8E1F855}"/>
    <dgm:cxn modelId="{08E94173-9C01-4AEA-96CE-8A4A854DFD55}" srcId="{1C240F20-5AC7-4FB3-A766-BBF0DCFF63DF}" destId="{1F7E272D-2874-4AB6-A8C2-763D9CF5E63F}" srcOrd="2" destOrd="0" parTransId="{69BFE459-F03E-4378-A227-8A68C95F2D42}" sibTransId="{95E7A8EC-4DD3-4E6E-9667-632817820117}"/>
    <dgm:cxn modelId="{124364BC-2097-4604-82B3-28F4C4E01ED7}" srcId="{F23F3DEC-2A69-4A91-93A3-F743E4667D3B}" destId="{A73C13EC-F59E-4C95-BAF0-9A73383C04ED}" srcOrd="0" destOrd="0" parTransId="{40D1E555-2028-4067-9932-8274BB074C2F}" sibTransId="{FEBD174E-AE22-4957-84B4-FFCD1EF86026}"/>
    <dgm:cxn modelId="{889B9C98-EF32-4093-95E5-BF140709B465}" type="presOf" srcId="{8706AA91-F2D2-4A2C-88B9-525DC9F356F4}" destId="{A2D93008-9C97-46C2-BB76-C6ADD6A8971C}" srcOrd="1" destOrd="0" presId="urn:microsoft.com/office/officeart/2005/8/layout/orgChart1"/>
    <dgm:cxn modelId="{320C41C4-A74E-43FD-8E66-82089B6BB25C}" srcId="{E1B7CEA3-6F0D-4620-BEC9-897E7295FE73}" destId="{7A4CE0E5-AE29-472D-98D6-53E5DF681308}" srcOrd="1" destOrd="0" parTransId="{23B6031A-E46E-43DF-9B5D-74E0819450C6}" sibTransId="{9405A829-CC99-4D20-A269-A6596022B52E}"/>
    <dgm:cxn modelId="{751FC437-D4F7-4691-8760-4603C73520A9}" type="presOf" srcId="{FD41F262-0416-425C-8D22-93E7DE9F2F99}" destId="{27ACF448-8BC5-4F9F-86B6-2B7041942A6B}" srcOrd="1" destOrd="0" presId="urn:microsoft.com/office/officeart/2005/8/layout/orgChart1"/>
    <dgm:cxn modelId="{340DD5B8-E5E5-4EFA-9452-C997E79E664B}" type="presOf" srcId="{1AA01950-6A79-4A12-9E5B-553E9DAC71E6}" destId="{1052345D-6021-40D9-8F3E-F20BE1D5235C}" srcOrd="0" destOrd="0" presId="urn:microsoft.com/office/officeart/2005/8/layout/orgChart1"/>
    <dgm:cxn modelId="{DDF8E40E-B297-40C9-956D-8633F3FDC6C0}" type="presOf" srcId="{69BFE459-F03E-4378-A227-8A68C95F2D42}" destId="{24916716-BAA7-4EDA-A7C7-2AA285EEAAB6}" srcOrd="0" destOrd="0" presId="urn:microsoft.com/office/officeart/2005/8/layout/orgChart1"/>
    <dgm:cxn modelId="{311E1B46-FB1A-4519-A886-662984F099C1}" type="presOf" srcId="{121CD71E-366F-411B-83EC-DA6DB0182775}" destId="{53A52D26-0E8F-409E-A0DE-2D4709C85511}" srcOrd="1" destOrd="0" presId="urn:microsoft.com/office/officeart/2005/8/layout/orgChart1"/>
    <dgm:cxn modelId="{3E597E5A-923D-4EFD-8EBB-B16C60C63ED0}" type="presOf" srcId="{3A41EAD6-3AA1-4568-A3C6-6887820ABDDC}" destId="{191D5C29-33EE-42DC-91A8-F3AC025FDCAD}" srcOrd="0" destOrd="0" presId="urn:microsoft.com/office/officeart/2005/8/layout/orgChart1"/>
    <dgm:cxn modelId="{96EA59F7-06B3-4F2C-AD1A-1C09887A6CBC}" type="presOf" srcId="{121CD71E-366F-411B-83EC-DA6DB0182775}" destId="{77889527-32C5-471A-9C0A-D1D3821A4319}" srcOrd="0" destOrd="0" presId="urn:microsoft.com/office/officeart/2005/8/layout/orgChart1"/>
    <dgm:cxn modelId="{E6279B0D-AFF2-4682-A87C-81DEBCD3B263}" srcId="{EA81A339-9DA4-4ED1-A691-9023FBAB6CDA}" destId="{1333DBA3-21F2-4801-A69F-15DCD05A2676}" srcOrd="1" destOrd="0" parTransId="{9B65C358-B2E5-4A45-8876-5821A6436300}" sibTransId="{ADE67D23-93F6-4861-9C38-9BD9E81B2394}"/>
    <dgm:cxn modelId="{BB8F9542-FF4A-4323-B766-99F4F42207C7}" type="presOf" srcId="{895BBA9E-995E-437E-B623-4E6CB016DCF6}" destId="{8750D8CA-F2B8-4F0F-8A4C-1766EF575569}" srcOrd="0" destOrd="0" presId="urn:microsoft.com/office/officeart/2005/8/layout/orgChart1"/>
    <dgm:cxn modelId="{58EE4140-82BC-4F06-A62C-5778DF56C7DB}" type="presOf" srcId="{E8DB6BB2-3C54-41E5-B4CA-9AB896B61686}" destId="{EB4A5EA3-BF1F-4313-AED0-3C9F5881EE93}" srcOrd="0" destOrd="0" presId="urn:microsoft.com/office/officeart/2005/8/layout/orgChart1"/>
    <dgm:cxn modelId="{A8D4D2BD-BD56-4D55-812B-00DC9BD7A0D9}" srcId="{053D5199-298E-4085-830B-26E831455299}" destId="{E1B7CEA3-6F0D-4620-BEC9-897E7295FE73}" srcOrd="0" destOrd="0" parTransId="{692FEA41-F6E3-49D7-A3DA-BA3AA5AA3BE5}" sibTransId="{BEA83EC8-CC5B-4E94-AD09-57C9C2C64C9A}"/>
    <dgm:cxn modelId="{7A62F262-EB23-434A-8646-41CD27D196F6}" type="presOf" srcId="{FD41F262-0416-425C-8D22-93E7DE9F2F99}" destId="{38978F0E-6009-42EB-9096-7109A4CDDF43}" srcOrd="0" destOrd="0" presId="urn:microsoft.com/office/officeart/2005/8/layout/orgChart1"/>
    <dgm:cxn modelId="{856803BC-1B1B-41D5-84E8-131D40368CB1}" type="presOf" srcId="{371B5A76-FFF9-41F1-8115-158F48393E50}" destId="{BBA707D0-C68F-4411-83F2-2670D1B61705}" srcOrd="0" destOrd="0" presId="urn:microsoft.com/office/officeart/2005/8/layout/orgChart1"/>
    <dgm:cxn modelId="{122C857C-54E6-4BE3-B484-3D06B7A1D67C}" type="presOf" srcId="{E147513A-95C6-4D8E-80C9-26C716D20FEA}" destId="{7F8F6D74-C13C-4013-837D-20E5BF367539}" srcOrd="0" destOrd="0" presId="urn:microsoft.com/office/officeart/2005/8/layout/orgChart1"/>
    <dgm:cxn modelId="{196CC5F9-DDAF-43BC-A8CD-AC5B07B29385}" type="presOf" srcId="{74B7F445-A039-4069-AC5A-4407ED4549FF}" destId="{076140BA-3AB5-4032-BD96-DF397EECFA59}" srcOrd="0" destOrd="0" presId="urn:microsoft.com/office/officeart/2005/8/layout/orgChart1"/>
    <dgm:cxn modelId="{14B2449A-84B4-4E58-9278-527D4ECE0CD7}" type="presOf" srcId="{DCAF94E9-D4E4-49A2-8A28-A02B5F1A1AA0}" destId="{7C254A46-30D4-48E0-977F-8A18BFAD58D3}" srcOrd="1" destOrd="0" presId="urn:microsoft.com/office/officeart/2005/8/layout/orgChart1"/>
    <dgm:cxn modelId="{9A4FD05F-1FC1-4E2D-A2C4-BF41F37746F4}" type="presOf" srcId="{DCAF94E9-D4E4-49A2-8A28-A02B5F1A1AA0}" destId="{3A00F916-FFEC-44B8-8B56-C3C7C540EA98}" srcOrd="0" destOrd="0" presId="urn:microsoft.com/office/officeart/2005/8/layout/orgChart1"/>
    <dgm:cxn modelId="{3D375D0F-7704-46EE-8BC8-98F8A16621AE}" type="presOf" srcId="{2E4921BC-8EF5-4555-9B83-B10149059FC0}" destId="{31596D48-3732-4636-832E-FC4F87390FF6}" srcOrd="0" destOrd="0" presId="urn:microsoft.com/office/officeart/2005/8/layout/orgChart1"/>
    <dgm:cxn modelId="{E27131B4-2A34-4E53-AC5F-6B036AE5B79A}" type="presOf" srcId="{650C56BF-EA07-4044-A270-4C757F618744}" destId="{4E754B31-8057-4220-B5CB-1A859886270A}" srcOrd="1" destOrd="0" presId="urn:microsoft.com/office/officeart/2005/8/layout/orgChart1"/>
    <dgm:cxn modelId="{E91F444B-846D-4135-8FE3-F28CC025531A}" type="presOf" srcId="{29D0AD0F-C607-4E24-84B2-06D56C2A79F3}" destId="{CBB17A79-3384-4633-ABFD-B72B70A17326}" srcOrd="0" destOrd="0" presId="urn:microsoft.com/office/officeart/2005/8/layout/orgChart1"/>
    <dgm:cxn modelId="{9450928D-90C3-4663-A018-4964406A2FCA}" type="presOf" srcId="{1333DBA3-21F2-4801-A69F-15DCD05A2676}" destId="{452D2365-1F0C-47C8-BC75-E0D858C48EC0}" srcOrd="0" destOrd="0" presId="urn:microsoft.com/office/officeart/2005/8/layout/orgChart1"/>
    <dgm:cxn modelId="{B8DF97C6-4762-4BEB-A396-D72D2B96D5B3}" type="presOf" srcId="{0285C9EE-55DF-40F2-A4C1-C2A372DF007E}" destId="{5F6043A5-728B-48F3-B8EF-36CEB192958E}" srcOrd="1" destOrd="0" presId="urn:microsoft.com/office/officeart/2005/8/layout/orgChart1"/>
    <dgm:cxn modelId="{70BB7AB1-BE11-4DF0-96AA-A37EB10EF4BF}" type="presOf" srcId="{E875FE67-F02A-4D37-BED5-C189EBFBFB88}" destId="{C5EBD4BB-DD6E-447C-9003-0590B16A1F1E}" srcOrd="0" destOrd="0" presId="urn:microsoft.com/office/officeart/2005/8/layout/orgChart1"/>
    <dgm:cxn modelId="{0C72AC1E-F266-4836-B030-D68FEC7E284D}" type="presOf" srcId="{F23F3DEC-2A69-4A91-93A3-F743E4667D3B}" destId="{AE331054-3CC5-4965-A7FD-374CC4F34E6C}" srcOrd="0" destOrd="0" presId="urn:microsoft.com/office/officeart/2005/8/layout/orgChart1"/>
    <dgm:cxn modelId="{1CFBD199-AAC3-453E-A3F8-24FA03F42AF8}" srcId="{053D5199-298E-4085-830B-26E831455299}" destId="{F23F3DEC-2A69-4A91-93A3-F743E4667D3B}" srcOrd="2" destOrd="0" parTransId="{2F3C05C8-A630-4634-9552-EB695B618E62}" sibTransId="{62BCDBCC-FA1A-46A6-96B3-2795C42FB1BA}"/>
    <dgm:cxn modelId="{E3A5647A-9883-45AB-8DC7-C6F6CB1FF15C}" type="presOf" srcId="{E1B7CEA3-6F0D-4620-BEC9-897E7295FE73}" destId="{A7EAE641-817A-4A16-BDB0-3CC35017334E}" srcOrd="0" destOrd="0" presId="urn:microsoft.com/office/officeart/2005/8/layout/orgChart1"/>
    <dgm:cxn modelId="{959C195D-728D-4DC2-B496-AD3271DDA75A}" srcId="{A86C71EA-5671-46B4-A9A4-44DD198AC0DB}" destId="{3A03BADF-6CCB-43C6-A092-2955E91209BA}" srcOrd="1" destOrd="0" parTransId="{40D61938-5CBF-407C-97EF-399C0781B178}" sibTransId="{17439CDE-9359-4B7D-9642-0250001A383C}"/>
    <dgm:cxn modelId="{00C533B9-F798-4DCE-847C-A22A2D03BDD5}" srcId="{FD41F262-0416-425C-8D22-93E7DE9F2F99}" destId="{A86C71EA-5671-46B4-A9A4-44DD198AC0DB}" srcOrd="0" destOrd="0" parTransId="{3CFEEE81-E8FD-4FCD-93FC-923D73B73CBF}" sibTransId="{163C53DF-1B88-4152-9EA2-69BC740B6CD1}"/>
    <dgm:cxn modelId="{476072C3-D20B-4DD0-8BBD-17689CB36CAF}" srcId="{FD41F262-0416-425C-8D22-93E7DE9F2F99}" destId="{1C240F20-5AC7-4FB3-A766-BBF0DCFF63DF}" srcOrd="2" destOrd="0" parTransId="{1AA01950-6A79-4A12-9E5B-553E9DAC71E6}" sibTransId="{0D400103-4965-4FD3-8BFF-39E85F122989}"/>
    <dgm:cxn modelId="{E77C2D11-0C0F-43FE-8DEC-E093D604232C}" type="presOf" srcId="{8706AA91-F2D2-4A2C-88B9-525DC9F356F4}" destId="{C3B837A2-B7B5-480F-B235-E3CD93CA8690}" srcOrd="0" destOrd="0" presId="urn:microsoft.com/office/officeart/2005/8/layout/orgChart1"/>
    <dgm:cxn modelId="{E2120A72-BC60-4AC6-83FC-2F827340037F}" type="presOf" srcId="{40D1E555-2028-4067-9932-8274BB074C2F}" destId="{9FC35EDF-9CEB-4CD5-B41E-1B83F2EE6B54}" srcOrd="0" destOrd="0" presId="urn:microsoft.com/office/officeart/2005/8/layout/orgChart1"/>
    <dgm:cxn modelId="{253B4594-1659-4A3E-9550-D75330E6BA44}" type="presOf" srcId="{3A03BADF-6CCB-43C6-A092-2955E91209BA}" destId="{DA3CDD39-3ACB-4496-B276-5221C21E3E3A}" srcOrd="1" destOrd="0" presId="urn:microsoft.com/office/officeart/2005/8/layout/orgChart1"/>
    <dgm:cxn modelId="{0B0F6684-5B64-4B5C-8AD5-AA1E1427C6C6}" type="presOf" srcId="{1F7E272D-2874-4AB6-A8C2-763D9CF5E63F}" destId="{8230B030-3729-4EA0-AE8B-ECAD64297E49}" srcOrd="0" destOrd="0" presId="urn:microsoft.com/office/officeart/2005/8/layout/orgChart1"/>
    <dgm:cxn modelId="{1418E9AF-DB12-41BB-8622-46AA60877508}" srcId="{29D0AD0F-C607-4E24-84B2-06D56C2A79F3}" destId="{301A1366-CADE-4D06-AC17-8E70961526AA}" srcOrd="1" destOrd="0" parTransId="{E25FA487-D382-410A-915D-6B02DDBE3214}" sibTransId="{4680F7EA-36EB-4598-AD4E-35D553569790}"/>
    <dgm:cxn modelId="{29D370B0-0B6A-4A6A-8590-DEA5E9C66349}" type="presOf" srcId="{5E14C847-8F60-498E-8CAC-93D0939EE473}" destId="{D14C10F2-AC59-4891-9F47-01AB070BFE50}" srcOrd="0" destOrd="0" presId="urn:microsoft.com/office/officeart/2005/8/layout/orgChart1"/>
    <dgm:cxn modelId="{CB25766F-D36E-4577-B206-98F6CD6D4439}" type="presOf" srcId="{312C5781-2657-4390-B069-9705FB614D5D}" destId="{749EAC46-F2A3-4D8F-BFA9-6B4E4C73AC2A}" srcOrd="1" destOrd="0" presId="urn:microsoft.com/office/officeart/2005/8/layout/orgChart1"/>
    <dgm:cxn modelId="{4CB19887-79B4-4C1A-8243-C09A8994CD4B}" type="presOf" srcId="{A0538E5B-3F1C-4877-B1B4-8EACFA0D6F91}" destId="{230600C3-4522-41CF-BD3A-5DBB5053CE10}" srcOrd="0" destOrd="0" presId="urn:microsoft.com/office/officeart/2005/8/layout/orgChart1"/>
    <dgm:cxn modelId="{A1FF50FB-FBC5-4B3B-BE37-876CBD8A6F44}" type="presOf" srcId="{8D0335C3-9540-4993-B14A-0980226DB26B}" destId="{D4956D19-21CB-4619-99C6-F24F347B122C}" srcOrd="1" destOrd="0" presId="urn:microsoft.com/office/officeart/2005/8/layout/orgChart1"/>
    <dgm:cxn modelId="{CC94DE1C-B762-410E-A189-26DD5DA5C39F}" type="presOf" srcId="{68F581CD-2FEA-4E3E-89E1-31C4BD0A4894}" destId="{E2FEB621-6C0A-4CB2-8609-E78D785F5961}" srcOrd="0" destOrd="0" presId="urn:microsoft.com/office/officeart/2005/8/layout/orgChart1"/>
    <dgm:cxn modelId="{71BF6FBD-1520-41AB-B263-17B20526990A}" type="presOf" srcId="{12ECF636-FCEC-4E3C-8CF7-3BBA44A36317}" destId="{9FB7A57F-04FD-4D8C-A284-8355DD93BE90}" srcOrd="0" destOrd="0" presId="urn:microsoft.com/office/officeart/2005/8/layout/orgChart1"/>
    <dgm:cxn modelId="{06F012F3-772B-4C87-B98C-B79ED2FA188C}" type="presOf" srcId="{1F7E272D-2874-4AB6-A8C2-763D9CF5E63F}" destId="{2A9495AE-BFFE-4AA3-8F0F-DE22EA21B7B1}" srcOrd="1" destOrd="0" presId="urn:microsoft.com/office/officeart/2005/8/layout/orgChart1"/>
    <dgm:cxn modelId="{82975E00-2531-4243-AEB9-F36A67128F2F}" type="presOf" srcId="{053D5199-298E-4085-830B-26E831455299}" destId="{448AF93A-4CC7-46F7-97B8-2DB3ECDAD7BC}" srcOrd="1" destOrd="0" presId="urn:microsoft.com/office/officeart/2005/8/layout/orgChart1"/>
    <dgm:cxn modelId="{D329FD48-4C85-4550-866E-D33E8D8DD7C4}" type="presOf" srcId="{2BA6616A-E4ED-4D8F-8E7B-B4A7C4010591}" destId="{1F2E0818-82CF-44DB-8D4D-0547759EB28E}" srcOrd="0" destOrd="0" presId="urn:microsoft.com/office/officeart/2005/8/layout/orgChart1"/>
    <dgm:cxn modelId="{E32ED138-31DB-46C9-8915-32F26150097D}" type="presOf" srcId="{692FEA41-F6E3-49D7-A3DA-BA3AA5AA3BE5}" destId="{0CDD4118-6F49-4924-98A2-1A111C93F0C3}" srcOrd="0" destOrd="0" presId="urn:microsoft.com/office/officeart/2005/8/layout/orgChart1"/>
    <dgm:cxn modelId="{06B532AE-3FFE-4873-A2AC-3F116FC4A482}" type="presOf" srcId="{F23F3DEC-2A69-4A91-93A3-F743E4667D3B}" destId="{94BFA216-C632-4CED-8A32-EEB9ADA44A2A}" srcOrd="1" destOrd="0" presId="urn:microsoft.com/office/officeart/2005/8/layout/orgChart1"/>
    <dgm:cxn modelId="{2E5BA519-8E3D-4967-818A-B0DBDD65A0FD}" srcId="{3A03BADF-6CCB-43C6-A092-2955E91209BA}" destId="{0285C9EE-55DF-40F2-A4C1-C2A372DF007E}" srcOrd="2" destOrd="0" parTransId="{A0538E5B-3F1C-4877-B1B4-8EACFA0D6F91}" sibTransId="{C6539845-91EE-4677-A504-A764B9720BE3}"/>
    <dgm:cxn modelId="{FAACFB6C-2AE5-4CB4-A57D-609F7643F14D}" type="presOf" srcId="{56AB6C16-F82D-441F-A9AE-E07BFF5F5688}" destId="{EE4AAF33-20DE-4740-A945-CCD27BC991CE}" srcOrd="0" destOrd="0" presId="urn:microsoft.com/office/officeart/2005/8/layout/orgChart1"/>
    <dgm:cxn modelId="{4C93D22E-DE51-4EF2-9983-F70543847B01}" type="presOf" srcId="{8D0335C3-9540-4993-B14A-0980226DB26B}" destId="{F3A51314-DF1B-4A9D-ACCE-F02E2FE89469}" srcOrd="0" destOrd="0" presId="urn:microsoft.com/office/officeart/2005/8/layout/orgChart1"/>
    <dgm:cxn modelId="{3AC94571-2D71-4E9C-A57D-634BB564E5A7}" type="presOf" srcId="{301A1366-CADE-4D06-AC17-8E70961526AA}" destId="{36E9B2F8-5AD4-42BA-A0D7-A8C4B705EA0D}" srcOrd="1" destOrd="0" presId="urn:microsoft.com/office/officeart/2005/8/layout/orgChart1"/>
    <dgm:cxn modelId="{3C37B3D4-0F7A-42B1-80A3-636BD7EDFB67}" srcId="{3A03BADF-6CCB-43C6-A092-2955E91209BA}" destId="{121CD71E-366F-411B-83EC-DA6DB0182775}" srcOrd="1" destOrd="0" parTransId="{371B5A76-FFF9-41F1-8115-158F48393E50}" sibTransId="{4A47122C-A4C5-48A1-9882-9E0485549AD5}"/>
    <dgm:cxn modelId="{5CA6410B-1270-430F-B8A0-BADC0598F9C0}" type="presOf" srcId="{2F3C05C8-A630-4634-9552-EB695B618E62}" destId="{3BEE921D-EC88-4069-A48A-577B055BEAFF}" srcOrd="0" destOrd="0" presId="urn:microsoft.com/office/officeart/2005/8/layout/orgChart1"/>
    <dgm:cxn modelId="{22D25245-49B5-4533-9ABB-829A06A6515A}" type="presOf" srcId="{1C240F20-5AC7-4FB3-A766-BBF0DCFF63DF}" destId="{DCCA19C8-DAEA-4CEE-8EC1-53A82197CDCB}" srcOrd="0" destOrd="0" presId="urn:microsoft.com/office/officeart/2005/8/layout/orgChart1"/>
    <dgm:cxn modelId="{8DBDF477-1822-4F6C-B1F6-CA2D7D60BAA2}" type="presOf" srcId="{29D0AD0F-C607-4E24-84B2-06D56C2A79F3}" destId="{CBC8D6E6-6B11-4FC3-934F-8E3CAC1468DF}" srcOrd="1" destOrd="0" presId="urn:microsoft.com/office/officeart/2005/8/layout/orgChart1"/>
    <dgm:cxn modelId="{25274557-78A8-485C-9E9C-C7892DA464F0}" srcId="{EA81A339-9DA4-4ED1-A691-9023FBAB6CDA}" destId="{E875FE67-F02A-4D37-BED5-C189EBFBFB88}" srcOrd="0" destOrd="0" parTransId="{12ECF636-FCEC-4E3C-8CF7-3BBA44A36317}" sibTransId="{31E1DB44-4393-4038-AE32-219911F2C4FD}"/>
    <dgm:cxn modelId="{C5280822-C589-45D8-B5AE-734A073ADCF6}" type="presOf" srcId="{A73C13EC-F59E-4C95-BAF0-9A73383C04ED}" destId="{1EACED9F-45AA-4738-A095-D53E65A6F046}" srcOrd="0" destOrd="0" presId="urn:microsoft.com/office/officeart/2005/8/layout/orgChart1"/>
    <dgm:cxn modelId="{C49A2F01-B169-457E-8B08-9F96E48099F6}" srcId="{E1B7CEA3-6F0D-4620-BEC9-897E7295FE73}" destId="{8706AA91-F2D2-4A2C-88B9-525DC9F356F4}" srcOrd="2" destOrd="0" parTransId="{CD4FB902-6B53-4565-AFDB-632C5C6971B7}" sibTransId="{4FC1A8EC-95D4-4406-BBF9-CD00EAF19940}"/>
    <dgm:cxn modelId="{46975B6B-30E9-43BD-981E-D8FB7E42EE5D}" type="presOf" srcId="{A86C71EA-5671-46B4-A9A4-44DD198AC0DB}" destId="{996694F2-0834-4AE7-AA46-3ADEBE369A06}" srcOrd="0" destOrd="0" presId="urn:microsoft.com/office/officeart/2005/8/layout/orgChart1"/>
    <dgm:cxn modelId="{891DC616-AE6E-4CAC-8A89-1B9CDDEEA363}" srcId="{29D0AD0F-C607-4E24-84B2-06D56C2A79F3}" destId="{DCAF94E9-D4E4-49A2-8A28-A02B5F1A1AA0}" srcOrd="0" destOrd="0" parTransId="{3A41EAD6-3AA1-4568-A3C6-6887820ABDDC}" sibTransId="{AF26912B-13A7-41B1-A7B2-2B2D00A7B50D}"/>
    <dgm:cxn modelId="{8FCADDD9-B5FF-4F9D-B087-C70FD5036089}" type="presOf" srcId="{3CFEEE81-E8FD-4FCD-93FC-923D73B73CBF}" destId="{D8183AAA-8E87-4037-8D21-1901B17652B5}" srcOrd="0" destOrd="0" presId="urn:microsoft.com/office/officeart/2005/8/layout/orgChart1"/>
    <dgm:cxn modelId="{F8ED5554-B635-4631-9307-CFF26CF9D161}" type="presOf" srcId="{421D9C09-DAD4-45A8-8E19-23F3E22AEDD0}" destId="{D0608D7F-40E4-45F6-8F7D-4F05BA90C95D}" srcOrd="1" destOrd="0" presId="urn:microsoft.com/office/officeart/2005/8/layout/orgChart1"/>
    <dgm:cxn modelId="{467438B6-72B6-44CD-9ECD-D426210B8629}" type="presOf" srcId="{F7DBED64-7392-464F-822F-F1F8E8FB10A2}" destId="{A18F959C-865D-4AA1-B988-38150284E325}" srcOrd="0" destOrd="0" presId="urn:microsoft.com/office/officeart/2005/8/layout/orgChart1"/>
    <dgm:cxn modelId="{E522AA8E-69C0-4452-9340-193215578C9D}" type="presOf" srcId="{D3ACE48C-1367-44EF-998B-72D79DDDBADC}" destId="{28CAB18D-CC0C-4A7F-A23F-D782E7501D01}" srcOrd="0" destOrd="0" presId="urn:microsoft.com/office/officeart/2005/8/layout/orgChart1"/>
    <dgm:cxn modelId="{40227B7B-9C68-4FA1-B88A-11F580302B2D}" type="presOf" srcId="{EA81A339-9DA4-4ED1-A691-9023FBAB6CDA}" destId="{23E46AB4-2BC7-4F72-A0BD-565562DD4C9D}" srcOrd="0" destOrd="0" presId="urn:microsoft.com/office/officeart/2005/8/layout/orgChart1"/>
    <dgm:cxn modelId="{A9ABA2C9-9371-482D-AF78-6C1B28121095}" type="presOf" srcId="{7A4CE0E5-AE29-472D-98D6-53E5DF681308}" destId="{0A02E700-D178-4FE0-9386-8C3F9EAA5959}" srcOrd="0" destOrd="0" presId="urn:microsoft.com/office/officeart/2005/8/layout/orgChart1"/>
    <dgm:cxn modelId="{7BE7ADEB-9291-4C8D-87F3-8FB90CD72F5E}" srcId="{A86C71EA-5671-46B4-A9A4-44DD198AC0DB}" destId="{29D0AD0F-C607-4E24-84B2-06D56C2A79F3}" srcOrd="2" destOrd="0" parTransId="{895BBA9E-995E-437E-B623-4E6CB016DCF6}" sibTransId="{F7DD371E-2591-4262-A9C3-6631242F16D5}"/>
    <dgm:cxn modelId="{D25EFB6A-D6E0-448C-B627-FA6BF2493E4A}" type="presOf" srcId="{E1B7CEA3-6F0D-4620-BEC9-897E7295FE73}" destId="{E9BD5EEB-59BA-4986-BE2D-3C3A34D5D059}" srcOrd="1" destOrd="0" presId="urn:microsoft.com/office/officeart/2005/8/layout/orgChart1"/>
    <dgm:cxn modelId="{50ED6EA4-32B0-4E84-864A-B6149E2FB03F}" type="presOf" srcId="{A73C13EC-F59E-4C95-BAF0-9A73383C04ED}" destId="{A1BC6817-0BD5-43FA-969D-E481BDB82D64}" srcOrd="1" destOrd="0" presId="urn:microsoft.com/office/officeart/2005/8/layout/orgChart1"/>
    <dgm:cxn modelId="{C72A8A4C-30C1-4B8A-9EB7-D7E7A24E8E19}" srcId="{FD41F262-0416-425C-8D22-93E7DE9F2F99}" destId="{053D5199-298E-4085-830B-26E831455299}" srcOrd="1" destOrd="0" parTransId="{E8DB6BB2-3C54-41E5-B4CA-9AB896B61686}" sibTransId="{BFFA31A6-0612-4C3A-A305-1387660F6184}"/>
    <dgm:cxn modelId="{220E02B6-2D21-4239-81AD-BBFC6F475837}" type="presOf" srcId="{23B6031A-E46E-43DF-9B5D-74E0819450C6}" destId="{CF1437CC-E0D0-4C3A-9FAB-3511AD49B4A3}" srcOrd="0" destOrd="0" presId="urn:microsoft.com/office/officeart/2005/8/layout/orgChart1"/>
    <dgm:cxn modelId="{C1B6F811-4B07-467E-9E40-6FEE2178E181}" type="presOf" srcId="{9B65C358-B2E5-4A45-8876-5821A6436300}" destId="{F5FD3453-98A1-427D-87CB-CE45290D2EE4}" srcOrd="0" destOrd="0" presId="urn:microsoft.com/office/officeart/2005/8/layout/orgChart1"/>
    <dgm:cxn modelId="{4DFCDAFE-29C3-4FF9-BD77-F7E942A4A73A}" type="presOf" srcId="{CD60E979-A548-4F73-9D5E-B934FEF0B4AA}" destId="{60C56F1B-DDC3-4359-A359-6F29F68BF0BD}" srcOrd="0" destOrd="0" presId="urn:microsoft.com/office/officeart/2005/8/layout/orgChart1"/>
    <dgm:cxn modelId="{665F7B3A-FA43-4E3E-B969-7979D6FEE1CF}" type="presParOf" srcId="{A18F959C-865D-4AA1-B988-38150284E325}" destId="{9EC9A148-F718-41F9-8521-C1EA051A0FAB}" srcOrd="0" destOrd="0" presId="urn:microsoft.com/office/officeart/2005/8/layout/orgChart1"/>
    <dgm:cxn modelId="{4A999526-B5ED-4462-8D18-A464738FECE2}" type="presParOf" srcId="{9EC9A148-F718-41F9-8521-C1EA051A0FAB}" destId="{C956DA2D-CEB6-4BE0-9BE1-F6D3EF9DE22B}" srcOrd="0" destOrd="0" presId="urn:microsoft.com/office/officeart/2005/8/layout/orgChart1"/>
    <dgm:cxn modelId="{C8F3AACE-498E-4F00-BDE6-C353AFCCC3B4}" type="presParOf" srcId="{C956DA2D-CEB6-4BE0-9BE1-F6D3EF9DE22B}" destId="{38978F0E-6009-42EB-9096-7109A4CDDF43}" srcOrd="0" destOrd="0" presId="urn:microsoft.com/office/officeart/2005/8/layout/orgChart1"/>
    <dgm:cxn modelId="{BE2AB41A-65BA-49EA-B473-606DFBE3A93C}" type="presParOf" srcId="{C956DA2D-CEB6-4BE0-9BE1-F6D3EF9DE22B}" destId="{27ACF448-8BC5-4F9F-86B6-2B7041942A6B}" srcOrd="1" destOrd="0" presId="urn:microsoft.com/office/officeart/2005/8/layout/orgChart1"/>
    <dgm:cxn modelId="{E5D3CEA0-D5FB-41DD-93BE-6C30D124E243}" type="presParOf" srcId="{9EC9A148-F718-41F9-8521-C1EA051A0FAB}" destId="{7B48BEFF-C1A2-4CCA-B3CA-6D63E0059992}" srcOrd="1" destOrd="0" presId="urn:microsoft.com/office/officeart/2005/8/layout/orgChart1"/>
    <dgm:cxn modelId="{8F1E435E-B48A-44EE-8C9F-AD411FDF3057}" type="presParOf" srcId="{7B48BEFF-C1A2-4CCA-B3CA-6D63E0059992}" destId="{D8183AAA-8E87-4037-8D21-1901B17652B5}" srcOrd="0" destOrd="0" presId="urn:microsoft.com/office/officeart/2005/8/layout/orgChart1"/>
    <dgm:cxn modelId="{1631FBA3-1D80-42DE-A55A-9603E50204AA}" type="presParOf" srcId="{7B48BEFF-C1A2-4CCA-B3CA-6D63E0059992}" destId="{B886B9DE-0009-47EB-ADA3-6E3E700C2992}" srcOrd="1" destOrd="0" presId="urn:microsoft.com/office/officeart/2005/8/layout/orgChart1"/>
    <dgm:cxn modelId="{FF81A8D9-8598-4B80-A2EB-566E9D6149EF}" type="presParOf" srcId="{B886B9DE-0009-47EB-ADA3-6E3E700C2992}" destId="{26BEFCAB-D62C-4084-BEAA-DFBA904A955F}" srcOrd="0" destOrd="0" presId="urn:microsoft.com/office/officeart/2005/8/layout/orgChart1"/>
    <dgm:cxn modelId="{9EC858E9-6E75-43D1-88FC-F00CE7A780D4}" type="presParOf" srcId="{26BEFCAB-D62C-4084-BEAA-DFBA904A955F}" destId="{996694F2-0834-4AE7-AA46-3ADEBE369A06}" srcOrd="0" destOrd="0" presId="urn:microsoft.com/office/officeart/2005/8/layout/orgChart1"/>
    <dgm:cxn modelId="{0374F386-90A9-4754-82CF-213AAC01EA11}" type="presParOf" srcId="{26BEFCAB-D62C-4084-BEAA-DFBA904A955F}" destId="{BB9F0B52-A9D6-494E-B7EB-1C3FCB05A4D7}" srcOrd="1" destOrd="0" presId="urn:microsoft.com/office/officeart/2005/8/layout/orgChart1"/>
    <dgm:cxn modelId="{2B5F7FFC-13C3-4CF8-8E33-A6C7164825CF}" type="presParOf" srcId="{B886B9DE-0009-47EB-ADA3-6E3E700C2992}" destId="{45D82CAE-8BA7-44F3-B251-3600462930CE}" srcOrd="1" destOrd="0" presId="urn:microsoft.com/office/officeart/2005/8/layout/orgChart1"/>
    <dgm:cxn modelId="{4474CBC3-9E29-4895-9B1A-6CFA1A560C6A}" type="presParOf" srcId="{45D82CAE-8BA7-44F3-B251-3600462930CE}" destId="{E2FEB621-6C0A-4CB2-8609-E78D785F5961}" srcOrd="0" destOrd="0" presId="urn:microsoft.com/office/officeart/2005/8/layout/orgChart1"/>
    <dgm:cxn modelId="{EAC2DB6E-9972-4D1A-9CEC-1CDD6AAE11C6}" type="presParOf" srcId="{45D82CAE-8BA7-44F3-B251-3600462930CE}" destId="{0BA1A05F-EFBD-4376-B63C-6EBB8BF712FE}" srcOrd="1" destOrd="0" presId="urn:microsoft.com/office/officeart/2005/8/layout/orgChart1"/>
    <dgm:cxn modelId="{DD1F5D01-D845-432A-AFF6-87BB5291054B}" type="presParOf" srcId="{0BA1A05F-EFBD-4376-B63C-6EBB8BF712FE}" destId="{6D4C6793-F66E-4C70-A869-73B6794FBE46}" srcOrd="0" destOrd="0" presId="urn:microsoft.com/office/officeart/2005/8/layout/orgChart1"/>
    <dgm:cxn modelId="{D9570333-FE63-44D1-8D5A-92A960B04262}" type="presParOf" srcId="{6D4C6793-F66E-4C70-A869-73B6794FBE46}" destId="{71116FFC-9927-4495-B57C-875E6EC24DA7}" srcOrd="0" destOrd="0" presId="urn:microsoft.com/office/officeart/2005/8/layout/orgChart1"/>
    <dgm:cxn modelId="{83F0C8DC-86A9-4810-872F-FB5D4AB95E4F}" type="presParOf" srcId="{6D4C6793-F66E-4C70-A869-73B6794FBE46}" destId="{4784CA01-8C1B-4040-851F-DB9CA38F4034}" srcOrd="1" destOrd="0" presId="urn:microsoft.com/office/officeart/2005/8/layout/orgChart1"/>
    <dgm:cxn modelId="{C43AFCB2-8B73-411A-AA63-8303D132B980}" type="presParOf" srcId="{0BA1A05F-EFBD-4376-B63C-6EBB8BF712FE}" destId="{A2A98C47-0E0D-46E2-9545-1513ED3C865F}" srcOrd="1" destOrd="0" presId="urn:microsoft.com/office/officeart/2005/8/layout/orgChart1"/>
    <dgm:cxn modelId="{2C500F40-731C-4AEE-B97A-FBC6B971D118}" type="presParOf" srcId="{A2A98C47-0E0D-46E2-9545-1513ED3C865F}" destId="{EE4AAF33-20DE-4740-A945-CCD27BC991CE}" srcOrd="0" destOrd="0" presId="urn:microsoft.com/office/officeart/2005/8/layout/orgChart1"/>
    <dgm:cxn modelId="{847F0587-DF09-4117-A83E-E0EA2359B54D}" type="presParOf" srcId="{A2A98C47-0E0D-46E2-9545-1513ED3C865F}" destId="{3E4E5E07-A91E-48C4-9D93-F65718D40085}" srcOrd="1" destOrd="0" presId="urn:microsoft.com/office/officeart/2005/8/layout/orgChart1"/>
    <dgm:cxn modelId="{4553A2C1-3E53-4551-AAD9-1DEC3F223883}" type="presParOf" srcId="{3E4E5E07-A91E-48C4-9D93-F65718D40085}" destId="{0AC5E857-2FAE-4BCF-88DD-D74DF821CA93}" srcOrd="0" destOrd="0" presId="urn:microsoft.com/office/officeart/2005/8/layout/orgChart1"/>
    <dgm:cxn modelId="{5525D792-2A1A-4B13-A559-BAF02CFC7BE5}" type="presParOf" srcId="{0AC5E857-2FAE-4BCF-88DD-D74DF821CA93}" destId="{F3A51314-DF1B-4A9D-ACCE-F02E2FE89469}" srcOrd="0" destOrd="0" presId="urn:microsoft.com/office/officeart/2005/8/layout/orgChart1"/>
    <dgm:cxn modelId="{2C35214B-8EBF-49A9-923E-EDE004827FCF}" type="presParOf" srcId="{0AC5E857-2FAE-4BCF-88DD-D74DF821CA93}" destId="{D4956D19-21CB-4619-99C6-F24F347B122C}" srcOrd="1" destOrd="0" presId="urn:microsoft.com/office/officeart/2005/8/layout/orgChart1"/>
    <dgm:cxn modelId="{4E1EF24F-9FAD-46B7-8D71-69A1C9E3FC13}" type="presParOf" srcId="{3E4E5E07-A91E-48C4-9D93-F65718D40085}" destId="{B716DAC3-5462-42A1-BFDA-B6DB5EB2DE0F}" srcOrd="1" destOrd="0" presId="urn:microsoft.com/office/officeart/2005/8/layout/orgChart1"/>
    <dgm:cxn modelId="{800EE27D-8330-4CEA-BDC0-6427D01DB0AC}" type="presParOf" srcId="{3E4E5E07-A91E-48C4-9D93-F65718D40085}" destId="{CA089786-EEB7-4797-9C54-5380110B1094}" srcOrd="2" destOrd="0" presId="urn:microsoft.com/office/officeart/2005/8/layout/orgChart1"/>
    <dgm:cxn modelId="{BCBE051F-9C3A-4B2E-8A54-B44219CDC2AC}" type="presParOf" srcId="{0BA1A05F-EFBD-4376-B63C-6EBB8BF712FE}" destId="{F4B36C13-BCD7-4D9C-B313-8F8889999EFC}" srcOrd="2" destOrd="0" presId="urn:microsoft.com/office/officeart/2005/8/layout/orgChart1"/>
    <dgm:cxn modelId="{50CD285D-DF03-4109-8CE8-B6B3C6A30527}" type="presParOf" srcId="{45D82CAE-8BA7-44F3-B251-3600462930CE}" destId="{143CC701-1B38-405D-9C68-AAB4A5CCB58B}" srcOrd="2" destOrd="0" presId="urn:microsoft.com/office/officeart/2005/8/layout/orgChart1"/>
    <dgm:cxn modelId="{048CA026-0DFC-45CA-8352-1ED8A122EAC9}" type="presParOf" srcId="{45D82CAE-8BA7-44F3-B251-3600462930CE}" destId="{912ADAB0-D7B2-47B0-820F-E5EFB7185E25}" srcOrd="3" destOrd="0" presId="urn:microsoft.com/office/officeart/2005/8/layout/orgChart1"/>
    <dgm:cxn modelId="{22D57017-99C3-4679-814C-0149FC194FC2}" type="presParOf" srcId="{912ADAB0-D7B2-47B0-820F-E5EFB7185E25}" destId="{2AA27CF0-8F6C-43E9-8038-490A90FDA26D}" srcOrd="0" destOrd="0" presId="urn:microsoft.com/office/officeart/2005/8/layout/orgChart1"/>
    <dgm:cxn modelId="{7DDE61C3-8172-4131-8F6B-C8FA7D11C1C8}" type="presParOf" srcId="{2AA27CF0-8F6C-43E9-8038-490A90FDA26D}" destId="{06CA66EF-599C-4E28-ABCF-AC743FDFF894}" srcOrd="0" destOrd="0" presId="urn:microsoft.com/office/officeart/2005/8/layout/orgChart1"/>
    <dgm:cxn modelId="{16B9148D-91B9-492F-8C78-A88912CE258C}" type="presParOf" srcId="{2AA27CF0-8F6C-43E9-8038-490A90FDA26D}" destId="{DA3CDD39-3ACB-4496-B276-5221C21E3E3A}" srcOrd="1" destOrd="0" presId="urn:microsoft.com/office/officeart/2005/8/layout/orgChart1"/>
    <dgm:cxn modelId="{AEDBEEA3-A84E-4FBE-8385-BD74CED5F341}" type="presParOf" srcId="{912ADAB0-D7B2-47B0-820F-E5EFB7185E25}" destId="{D220AD1C-B967-4771-A1AC-EE24E032B8AE}" srcOrd="1" destOrd="0" presId="urn:microsoft.com/office/officeart/2005/8/layout/orgChart1"/>
    <dgm:cxn modelId="{F2603ABD-4749-4F0A-AB0D-AAB79372443D}" type="presParOf" srcId="{D220AD1C-B967-4771-A1AC-EE24E032B8AE}" destId="{60C56F1B-DDC3-4359-A359-6F29F68BF0BD}" srcOrd="0" destOrd="0" presId="urn:microsoft.com/office/officeart/2005/8/layout/orgChart1"/>
    <dgm:cxn modelId="{E6964B89-CB67-4155-8F05-168AF8F33207}" type="presParOf" srcId="{D220AD1C-B967-4771-A1AC-EE24E032B8AE}" destId="{0F87E5E7-A2F8-4AA3-8A56-B998DB18F5BE}" srcOrd="1" destOrd="0" presId="urn:microsoft.com/office/officeart/2005/8/layout/orgChart1"/>
    <dgm:cxn modelId="{C0FBCB3F-1E6B-4B7A-A206-99BB0D079A54}" type="presParOf" srcId="{0F87E5E7-A2F8-4AA3-8A56-B998DB18F5BE}" destId="{2BE8F5EC-BE52-4595-8541-75E9E0FB5A54}" srcOrd="0" destOrd="0" presId="urn:microsoft.com/office/officeart/2005/8/layout/orgChart1"/>
    <dgm:cxn modelId="{D33B7C38-1616-4854-9AD1-2FDE605221C5}" type="presParOf" srcId="{2BE8F5EC-BE52-4595-8541-75E9E0FB5A54}" destId="{31596D48-3732-4636-832E-FC4F87390FF6}" srcOrd="0" destOrd="0" presId="urn:microsoft.com/office/officeart/2005/8/layout/orgChart1"/>
    <dgm:cxn modelId="{21BC41E3-5997-4748-B504-E6C89B52908B}" type="presParOf" srcId="{2BE8F5EC-BE52-4595-8541-75E9E0FB5A54}" destId="{38B62FF6-6468-4BB6-8042-BE1E3682E5BB}" srcOrd="1" destOrd="0" presId="urn:microsoft.com/office/officeart/2005/8/layout/orgChart1"/>
    <dgm:cxn modelId="{37E3D823-F368-4DAE-9E86-EA1FCF29E732}" type="presParOf" srcId="{0F87E5E7-A2F8-4AA3-8A56-B998DB18F5BE}" destId="{B944BB30-1FE2-48B8-9CD0-D4555CCB3342}" srcOrd="1" destOrd="0" presId="urn:microsoft.com/office/officeart/2005/8/layout/orgChart1"/>
    <dgm:cxn modelId="{D7AA44CB-128D-4715-B2F5-4F1C7D93F3AC}" type="presParOf" srcId="{0F87E5E7-A2F8-4AA3-8A56-B998DB18F5BE}" destId="{86F82572-768D-41D0-9F1F-1163CCF174BE}" srcOrd="2" destOrd="0" presId="urn:microsoft.com/office/officeart/2005/8/layout/orgChart1"/>
    <dgm:cxn modelId="{B1C643D1-C2AA-43FF-B4E8-7072A1D8AF01}" type="presParOf" srcId="{D220AD1C-B967-4771-A1AC-EE24E032B8AE}" destId="{BBA707D0-C68F-4411-83F2-2670D1B61705}" srcOrd="2" destOrd="0" presId="urn:microsoft.com/office/officeart/2005/8/layout/orgChart1"/>
    <dgm:cxn modelId="{0937552D-E7C4-45C4-AC67-902EEEF9F6C1}" type="presParOf" srcId="{D220AD1C-B967-4771-A1AC-EE24E032B8AE}" destId="{3CA70E52-6488-42A3-8F6C-171782B21BD7}" srcOrd="3" destOrd="0" presId="urn:microsoft.com/office/officeart/2005/8/layout/orgChart1"/>
    <dgm:cxn modelId="{E4FA5AEE-A59B-48A8-89B7-1A6993ED6748}" type="presParOf" srcId="{3CA70E52-6488-42A3-8F6C-171782B21BD7}" destId="{A42D24F7-DC66-458C-A57C-3DD4746EC35C}" srcOrd="0" destOrd="0" presId="urn:microsoft.com/office/officeart/2005/8/layout/orgChart1"/>
    <dgm:cxn modelId="{1A8DC2A5-602D-4AE0-B027-8058A3DAD42B}" type="presParOf" srcId="{A42D24F7-DC66-458C-A57C-3DD4746EC35C}" destId="{77889527-32C5-471A-9C0A-D1D3821A4319}" srcOrd="0" destOrd="0" presId="urn:microsoft.com/office/officeart/2005/8/layout/orgChart1"/>
    <dgm:cxn modelId="{C201E12E-B336-42A5-88EE-42A142C0439C}" type="presParOf" srcId="{A42D24F7-DC66-458C-A57C-3DD4746EC35C}" destId="{53A52D26-0E8F-409E-A0DE-2D4709C85511}" srcOrd="1" destOrd="0" presId="urn:microsoft.com/office/officeart/2005/8/layout/orgChart1"/>
    <dgm:cxn modelId="{4C2A46FE-9E20-4CCA-959A-67EB8C6B3E77}" type="presParOf" srcId="{3CA70E52-6488-42A3-8F6C-171782B21BD7}" destId="{9E389886-4DA6-43D6-91F9-3454F884724F}" srcOrd="1" destOrd="0" presId="urn:microsoft.com/office/officeart/2005/8/layout/orgChart1"/>
    <dgm:cxn modelId="{365C9E7B-7C9A-4CE5-AA2C-4F3940CB80B1}" type="presParOf" srcId="{3CA70E52-6488-42A3-8F6C-171782B21BD7}" destId="{734DB7C5-47DC-4A1D-8BF2-36CD320942B0}" srcOrd="2" destOrd="0" presId="urn:microsoft.com/office/officeart/2005/8/layout/orgChart1"/>
    <dgm:cxn modelId="{4EA6199C-98B2-4311-A511-9BC84D52ACDF}" type="presParOf" srcId="{D220AD1C-B967-4771-A1AC-EE24E032B8AE}" destId="{230600C3-4522-41CF-BD3A-5DBB5053CE10}" srcOrd="4" destOrd="0" presId="urn:microsoft.com/office/officeart/2005/8/layout/orgChart1"/>
    <dgm:cxn modelId="{FB86B241-1F41-454E-A0FC-A34B451DD81C}" type="presParOf" srcId="{D220AD1C-B967-4771-A1AC-EE24E032B8AE}" destId="{33D34D77-E512-408C-A4E2-6E2DCE2C58F1}" srcOrd="5" destOrd="0" presId="urn:microsoft.com/office/officeart/2005/8/layout/orgChart1"/>
    <dgm:cxn modelId="{108314EE-2027-45E3-9F92-08F4E45596B0}" type="presParOf" srcId="{33D34D77-E512-408C-A4E2-6E2DCE2C58F1}" destId="{D158100A-10E5-4C58-9234-8CE1495616BE}" srcOrd="0" destOrd="0" presId="urn:microsoft.com/office/officeart/2005/8/layout/orgChart1"/>
    <dgm:cxn modelId="{D0421DDD-EF24-42EF-BF4F-9B6916ED43E3}" type="presParOf" srcId="{D158100A-10E5-4C58-9234-8CE1495616BE}" destId="{E9669082-443A-49A1-8E31-C4111753FA5B}" srcOrd="0" destOrd="0" presId="urn:microsoft.com/office/officeart/2005/8/layout/orgChart1"/>
    <dgm:cxn modelId="{311E24C7-CA5E-4FE0-B9F6-780ADBA51909}" type="presParOf" srcId="{D158100A-10E5-4C58-9234-8CE1495616BE}" destId="{5F6043A5-728B-48F3-B8EF-36CEB192958E}" srcOrd="1" destOrd="0" presId="urn:microsoft.com/office/officeart/2005/8/layout/orgChart1"/>
    <dgm:cxn modelId="{E82EF081-F5C2-4B9F-92E9-7B1C0CB933D4}" type="presParOf" srcId="{33D34D77-E512-408C-A4E2-6E2DCE2C58F1}" destId="{E3F5AF36-F07F-46FF-B744-02D893AEDC88}" srcOrd="1" destOrd="0" presId="urn:microsoft.com/office/officeart/2005/8/layout/orgChart1"/>
    <dgm:cxn modelId="{3DA23392-99CC-406D-8A4D-7C7835A0E146}" type="presParOf" srcId="{33D34D77-E512-408C-A4E2-6E2DCE2C58F1}" destId="{12F901AD-2A92-4964-BEF6-F5FEAF4517C2}" srcOrd="2" destOrd="0" presId="urn:microsoft.com/office/officeart/2005/8/layout/orgChart1"/>
    <dgm:cxn modelId="{C25FD3D9-0B1F-47A8-80F1-A545CFFCF97C}" type="presParOf" srcId="{912ADAB0-D7B2-47B0-820F-E5EFB7185E25}" destId="{8732188D-FC6A-4FDA-BB49-D4B06B610319}" srcOrd="2" destOrd="0" presId="urn:microsoft.com/office/officeart/2005/8/layout/orgChart1"/>
    <dgm:cxn modelId="{773213BF-164A-4130-9C7B-6D90549F517F}" type="presParOf" srcId="{45D82CAE-8BA7-44F3-B251-3600462930CE}" destId="{8750D8CA-F2B8-4F0F-8A4C-1766EF575569}" srcOrd="4" destOrd="0" presId="urn:microsoft.com/office/officeart/2005/8/layout/orgChart1"/>
    <dgm:cxn modelId="{7D11B913-16E3-4B6A-87D0-D7FE4B35D401}" type="presParOf" srcId="{45D82CAE-8BA7-44F3-B251-3600462930CE}" destId="{A4C1B58A-A63D-46EE-9528-32792646E884}" srcOrd="5" destOrd="0" presId="urn:microsoft.com/office/officeart/2005/8/layout/orgChart1"/>
    <dgm:cxn modelId="{973DBEB6-E8E9-4F1B-B385-9BA4052C5270}" type="presParOf" srcId="{A4C1B58A-A63D-46EE-9528-32792646E884}" destId="{0372C06A-CA5C-4B2B-AD7E-600FDEB184C4}" srcOrd="0" destOrd="0" presId="urn:microsoft.com/office/officeart/2005/8/layout/orgChart1"/>
    <dgm:cxn modelId="{2C8CE64F-6377-4987-BAE3-AA90551DB50C}" type="presParOf" srcId="{0372C06A-CA5C-4B2B-AD7E-600FDEB184C4}" destId="{CBB17A79-3384-4633-ABFD-B72B70A17326}" srcOrd="0" destOrd="0" presId="urn:microsoft.com/office/officeart/2005/8/layout/orgChart1"/>
    <dgm:cxn modelId="{DD73B0CC-9A65-4117-91D3-C37F24A7E610}" type="presParOf" srcId="{0372C06A-CA5C-4B2B-AD7E-600FDEB184C4}" destId="{CBC8D6E6-6B11-4FC3-934F-8E3CAC1468DF}" srcOrd="1" destOrd="0" presId="urn:microsoft.com/office/officeart/2005/8/layout/orgChart1"/>
    <dgm:cxn modelId="{9480FF3D-194E-43D4-BEEE-E848705BA2E5}" type="presParOf" srcId="{A4C1B58A-A63D-46EE-9528-32792646E884}" destId="{079DC42B-7C40-49F5-962F-74D9E4DE8B25}" srcOrd="1" destOrd="0" presId="urn:microsoft.com/office/officeart/2005/8/layout/orgChart1"/>
    <dgm:cxn modelId="{8D741F96-D105-46FC-B0FF-E05D32229363}" type="presParOf" srcId="{079DC42B-7C40-49F5-962F-74D9E4DE8B25}" destId="{191D5C29-33EE-42DC-91A8-F3AC025FDCAD}" srcOrd="0" destOrd="0" presId="urn:microsoft.com/office/officeart/2005/8/layout/orgChart1"/>
    <dgm:cxn modelId="{A01AC37E-BB6C-4BF8-B176-67CA89CEC40B}" type="presParOf" srcId="{079DC42B-7C40-49F5-962F-74D9E4DE8B25}" destId="{049C4A73-A84B-4EA5-A6E4-1CDC4C34CFD3}" srcOrd="1" destOrd="0" presId="urn:microsoft.com/office/officeart/2005/8/layout/orgChart1"/>
    <dgm:cxn modelId="{E066C6BA-A00F-44DC-8FE9-5FAD35C67BDD}" type="presParOf" srcId="{049C4A73-A84B-4EA5-A6E4-1CDC4C34CFD3}" destId="{54FE6336-6AB0-462A-9353-C45E3AF1CFB7}" srcOrd="0" destOrd="0" presId="urn:microsoft.com/office/officeart/2005/8/layout/orgChart1"/>
    <dgm:cxn modelId="{E556F872-75AF-4EF7-A2C5-7A87A97AEF80}" type="presParOf" srcId="{54FE6336-6AB0-462A-9353-C45E3AF1CFB7}" destId="{3A00F916-FFEC-44B8-8B56-C3C7C540EA98}" srcOrd="0" destOrd="0" presId="urn:microsoft.com/office/officeart/2005/8/layout/orgChart1"/>
    <dgm:cxn modelId="{87CA573C-149E-42D0-9F19-C66B77BEC033}" type="presParOf" srcId="{54FE6336-6AB0-462A-9353-C45E3AF1CFB7}" destId="{7C254A46-30D4-48E0-977F-8A18BFAD58D3}" srcOrd="1" destOrd="0" presId="urn:microsoft.com/office/officeart/2005/8/layout/orgChart1"/>
    <dgm:cxn modelId="{377E6693-B5DF-487C-9E4C-852400F8123B}" type="presParOf" srcId="{049C4A73-A84B-4EA5-A6E4-1CDC4C34CFD3}" destId="{17F9DCA6-3E57-4D90-BE39-46E72BAA9750}" srcOrd="1" destOrd="0" presId="urn:microsoft.com/office/officeart/2005/8/layout/orgChart1"/>
    <dgm:cxn modelId="{5F559743-27F2-4EF6-BF2D-ACFD12EDD368}" type="presParOf" srcId="{049C4A73-A84B-4EA5-A6E4-1CDC4C34CFD3}" destId="{EE7CE1AC-8580-4553-867F-2C0024802E41}" srcOrd="2" destOrd="0" presId="urn:microsoft.com/office/officeart/2005/8/layout/orgChart1"/>
    <dgm:cxn modelId="{341D0D2A-3D12-4734-BF81-6C41510C9787}" type="presParOf" srcId="{079DC42B-7C40-49F5-962F-74D9E4DE8B25}" destId="{38DD567D-1371-4142-898C-7582C80E5A42}" srcOrd="2" destOrd="0" presId="urn:microsoft.com/office/officeart/2005/8/layout/orgChart1"/>
    <dgm:cxn modelId="{013B56EC-BE66-4015-9E66-F7ACCE588BF2}" type="presParOf" srcId="{079DC42B-7C40-49F5-962F-74D9E4DE8B25}" destId="{F9A29A53-92F3-40D8-9ECF-CDA32CE2A1A7}" srcOrd="3" destOrd="0" presId="urn:microsoft.com/office/officeart/2005/8/layout/orgChart1"/>
    <dgm:cxn modelId="{5031F222-63D3-4E4F-90AD-78201F19A1E1}" type="presParOf" srcId="{F9A29A53-92F3-40D8-9ECF-CDA32CE2A1A7}" destId="{1C976C0D-6088-4142-AC3E-3B34C1DD8A61}" srcOrd="0" destOrd="0" presId="urn:microsoft.com/office/officeart/2005/8/layout/orgChart1"/>
    <dgm:cxn modelId="{78287080-BBC7-48BD-821A-0709B0FA8B7B}" type="presParOf" srcId="{1C976C0D-6088-4142-AC3E-3B34C1DD8A61}" destId="{144F457F-721E-4B2B-ADD6-7E949BF6AEAA}" srcOrd="0" destOrd="0" presId="urn:microsoft.com/office/officeart/2005/8/layout/orgChart1"/>
    <dgm:cxn modelId="{EF0851FB-E0BD-4A51-B5C3-C8FEBF7EB46A}" type="presParOf" srcId="{1C976C0D-6088-4142-AC3E-3B34C1DD8A61}" destId="{36E9B2F8-5AD4-42BA-A0D7-A8C4B705EA0D}" srcOrd="1" destOrd="0" presId="urn:microsoft.com/office/officeart/2005/8/layout/orgChart1"/>
    <dgm:cxn modelId="{DBC9BF73-AF9B-4F6B-A454-86211EB84B52}" type="presParOf" srcId="{F9A29A53-92F3-40D8-9ECF-CDA32CE2A1A7}" destId="{358C3084-C6F6-4ECC-8777-3EEA5B731E43}" srcOrd="1" destOrd="0" presId="urn:microsoft.com/office/officeart/2005/8/layout/orgChart1"/>
    <dgm:cxn modelId="{E02090B9-7A9E-4EDF-AA5D-A14BFC0F6799}" type="presParOf" srcId="{F9A29A53-92F3-40D8-9ECF-CDA32CE2A1A7}" destId="{0DC0763B-67A6-43D1-96DB-73083E3CDFD4}" srcOrd="2" destOrd="0" presId="urn:microsoft.com/office/officeart/2005/8/layout/orgChart1"/>
    <dgm:cxn modelId="{EA250A90-FE4B-47F2-815E-93143F301D55}" type="presParOf" srcId="{079DC42B-7C40-49F5-962F-74D9E4DE8B25}" destId="{28CAB18D-CC0C-4A7F-A23F-D782E7501D01}" srcOrd="4" destOrd="0" presId="urn:microsoft.com/office/officeart/2005/8/layout/orgChart1"/>
    <dgm:cxn modelId="{A317C67A-7A86-403C-B43A-F27CDFCFFD67}" type="presParOf" srcId="{079DC42B-7C40-49F5-962F-74D9E4DE8B25}" destId="{9E48CBDB-90C8-4BEF-8DF2-FCA4FD4606E5}" srcOrd="5" destOrd="0" presId="urn:microsoft.com/office/officeart/2005/8/layout/orgChart1"/>
    <dgm:cxn modelId="{3510B3E3-3039-4A84-892E-2DF2A1069C83}" type="presParOf" srcId="{9E48CBDB-90C8-4BEF-8DF2-FCA4FD4606E5}" destId="{7CF86BAB-E044-4CB9-A578-8FFCE260A895}" srcOrd="0" destOrd="0" presId="urn:microsoft.com/office/officeart/2005/8/layout/orgChart1"/>
    <dgm:cxn modelId="{0927099B-539E-445F-8992-9F5381544734}" type="presParOf" srcId="{7CF86BAB-E044-4CB9-A578-8FFCE260A895}" destId="{7D19BB47-4EE2-4858-94DE-0E14374383FA}" srcOrd="0" destOrd="0" presId="urn:microsoft.com/office/officeart/2005/8/layout/orgChart1"/>
    <dgm:cxn modelId="{83F7D939-9DF5-46E4-8607-5ED1762EC4AA}" type="presParOf" srcId="{7CF86BAB-E044-4CB9-A578-8FFCE260A895}" destId="{4E754B31-8057-4220-B5CB-1A859886270A}" srcOrd="1" destOrd="0" presId="urn:microsoft.com/office/officeart/2005/8/layout/orgChart1"/>
    <dgm:cxn modelId="{E054F73C-8E58-4F62-B915-DCF681089CAF}" type="presParOf" srcId="{9E48CBDB-90C8-4BEF-8DF2-FCA4FD4606E5}" destId="{BD42193B-A252-43C4-8FDE-881C8CAB7C38}" srcOrd="1" destOrd="0" presId="urn:microsoft.com/office/officeart/2005/8/layout/orgChart1"/>
    <dgm:cxn modelId="{F8E61E3E-B8B4-45AD-AC93-986A759C0343}" type="presParOf" srcId="{9E48CBDB-90C8-4BEF-8DF2-FCA4FD4606E5}" destId="{864FFCF0-29F7-4DAE-8FCF-06A106DAADA7}" srcOrd="2" destOrd="0" presId="urn:microsoft.com/office/officeart/2005/8/layout/orgChart1"/>
    <dgm:cxn modelId="{18116348-A5EF-48BA-8B36-9E9592162875}" type="presParOf" srcId="{A4C1B58A-A63D-46EE-9528-32792646E884}" destId="{4F3169DE-EBF5-43A0-B1FC-CD62CEF09A16}" srcOrd="2" destOrd="0" presId="urn:microsoft.com/office/officeart/2005/8/layout/orgChart1"/>
    <dgm:cxn modelId="{28433124-6E13-4703-ADF7-4F2ED1840D8E}" type="presParOf" srcId="{B886B9DE-0009-47EB-ADA3-6E3E700C2992}" destId="{7CDEF8C7-0395-4A5C-83C0-01A3B56EDF4C}" srcOrd="2" destOrd="0" presId="urn:microsoft.com/office/officeart/2005/8/layout/orgChart1"/>
    <dgm:cxn modelId="{8EDE2C75-9342-419A-B240-721F1B700285}" type="presParOf" srcId="{7B48BEFF-C1A2-4CCA-B3CA-6D63E0059992}" destId="{EB4A5EA3-BF1F-4313-AED0-3C9F5881EE93}" srcOrd="2" destOrd="0" presId="urn:microsoft.com/office/officeart/2005/8/layout/orgChart1"/>
    <dgm:cxn modelId="{F33D3FA0-D6E7-4D5A-A748-CE9E330FF530}" type="presParOf" srcId="{7B48BEFF-C1A2-4CCA-B3CA-6D63E0059992}" destId="{2A51F462-FBAE-4AEC-9253-C844FCA3B41F}" srcOrd="3" destOrd="0" presId="urn:microsoft.com/office/officeart/2005/8/layout/orgChart1"/>
    <dgm:cxn modelId="{CF7115D7-814C-4180-85FA-62C8A3992896}" type="presParOf" srcId="{2A51F462-FBAE-4AEC-9253-C844FCA3B41F}" destId="{F1BB179A-C326-4573-81D4-4A73C0845EE0}" srcOrd="0" destOrd="0" presId="urn:microsoft.com/office/officeart/2005/8/layout/orgChart1"/>
    <dgm:cxn modelId="{7F0A8444-77F6-4023-BE6A-796E0CAFC300}" type="presParOf" srcId="{F1BB179A-C326-4573-81D4-4A73C0845EE0}" destId="{D4AF10AE-8A6F-49A5-9C57-C9C89DFEA97F}" srcOrd="0" destOrd="0" presId="urn:microsoft.com/office/officeart/2005/8/layout/orgChart1"/>
    <dgm:cxn modelId="{35897099-AE94-4BD6-9E9B-0DCC47D111CC}" type="presParOf" srcId="{F1BB179A-C326-4573-81D4-4A73C0845EE0}" destId="{448AF93A-4CC7-46F7-97B8-2DB3ECDAD7BC}" srcOrd="1" destOrd="0" presId="urn:microsoft.com/office/officeart/2005/8/layout/orgChart1"/>
    <dgm:cxn modelId="{2A41DBB5-4A86-4075-8B50-651C441B8FE0}" type="presParOf" srcId="{2A51F462-FBAE-4AEC-9253-C844FCA3B41F}" destId="{262E16A5-0A58-44AE-8F68-846A350B14D5}" srcOrd="1" destOrd="0" presId="urn:microsoft.com/office/officeart/2005/8/layout/orgChart1"/>
    <dgm:cxn modelId="{6F022DB3-793C-4833-A82B-8C718E4931D1}" type="presParOf" srcId="{262E16A5-0A58-44AE-8F68-846A350B14D5}" destId="{0CDD4118-6F49-4924-98A2-1A111C93F0C3}" srcOrd="0" destOrd="0" presId="urn:microsoft.com/office/officeart/2005/8/layout/orgChart1"/>
    <dgm:cxn modelId="{311ECDFA-9925-450E-9B8B-27E062CB605A}" type="presParOf" srcId="{262E16A5-0A58-44AE-8F68-846A350B14D5}" destId="{705607E2-ED4C-4793-ABB9-545797248D83}" srcOrd="1" destOrd="0" presId="urn:microsoft.com/office/officeart/2005/8/layout/orgChart1"/>
    <dgm:cxn modelId="{AB41ED34-36D8-43CC-B3FE-2BDF69CC07C9}" type="presParOf" srcId="{705607E2-ED4C-4793-ABB9-545797248D83}" destId="{BE703F17-24C3-44D7-A238-62F683702AFC}" srcOrd="0" destOrd="0" presId="urn:microsoft.com/office/officeart/2005/8/layout/orgChart1"/>
    <dgm:cxn modelId="{239EEE64-A69F-4661-9A89-938771B6529C}" type="presParOf" srcId="{BE703F17-24C3-44D7-A238-62F683702AFC}" destId="{A7EAE641-817A-4A16-BDB0-3CC35017334E}" srcOrd="0" destOrd="0" presId="urn:microsoft.com/office/officeart/2005/8/layout/orgChart1"/>
    <dgm:cxn modelId="{C137E8B2-1475-474C-B094-01EB1E0FDDDB}" type="presParOf" srcId="{BE703F17-24C3-44D7-A238-62F683702AFC}" destId="{E9BD5EEB-59BA-4986-BE2D-3C3A34D5D059}" srcOrd="1" destOrd="0" presId="urn:microsoft.com/office/officeart/2005/8/layout/orgChart1"/>
    <dgm:cxn modelId="{DF155F32-11B6-4414-A6F9-21D35FD54DC5}" type="presParOf" srcId="{705607E2-ED4C-4793-ABB9-545797248D83}" destId="{2873F820-79A5-4AFB-962E-E6EB969296E1}" srcOrd="1" destOrd="0" presId="urn:microsoft.com/office/officeart/2005/8/layout/orgChart1"/>
    <dgm:cxn modelId="{FAD7B69C-B656-40F5-BFF2-B107CB2E3DEE}" type="presParOf" srcId="{2873F820-79A5-4AFB-962E-E6EB969296E1}" destId="{0AA51811-0C94-48D8-BE3F-0EA5C30219DB}" srcOrd="0" destOrd="0" presId="urn:microsoft.com/office/officeart/2005/8/layout/orgChart1"/>
    <dgm:cxn modelId="{B5B08BB2-92FA-4DBD-BA76-9DA5981A7A32}" type="presParOf" srcId="{2873F820-79A5-4AFB-962E-E6EB969296E1}" destId="{495118FB-65F9-4CDA-98F1-DCFE732342F2}" srcOrd="1" destOrd="0" presId="urn:microsoft.com/office/officeart/2005/8/layout/orgChart1"/>
    <dgm:cxn modelId="{090B21F4-DF35-4D59-AAD1-E03DCC867B57}" type="presParOf" srcId="{495118FB-65F9-4CDA-98F1-DCFE732342F2}" destId="{0CEFE472-F8D3-42ED-9C77-1406F7122663}" srcOrd="0" destOrd="0" presId="urn:microsoft.com/office/officeart/2005/8/layout/orgChart1"/>
    <dgm:cxn modelId="{834CAA30-71C7-4F6A-9AB0-3D1522E83662}" type="presParOf" srcId="{0CEFE472-F8D3-42ED-9C77-1406F7122663}" destId="{24AEF2B7-1A28-46DE-BCEB-452706CEDC62}" srcOrd="0" destOrd="0" presId="urn:microsoft.com/office/officeart/2005/8/layout/orgChart1"/>
    <dgm:cxn modelId="{465A71C4-AFC3-43C3-8BCB-632C0EEBFE93}" type="presParOf" srcId="{0CEFE472-F8D3-42ED-9C77-1406F7122663}" destId="{22964F39-33E9-4F04-881C-94EBE06D0EB3}" srcOrd="1" destOrd="0" presId="urn:microsoft.com/office/officeart/2005/8/layout/orgChart1"/>
    <dgm:cxn modelId="{A91E7E58-3213-40EA-B1DF-5F7729A28DAB}" type="presParOf" srcId="{495118FB-65F9-4CDA-98F1-DCFE732342F2}" destId="{9EBBF395-050D-4719-8126-B87628999E70}" srcOrd="1" destOrd="0" presId="urn:microsoft.com/office/officeart/2005/8/layout/orgChart1"/>
    <dgm:cxn modelId="{76FE2AD4-338B-4608-9C02-C8FBD5667DB1}" type="presParOf" srcId="{495118FB-65F9-4CDA-98F1-DCFE732342F2}" destId="{64D2B657-51C9-483E-B369-94DD7CE19178}" srcOrd="2" destOrd="0" presId="urn:microsoft.com/office/officeart/2005/8/layout/orgChart1"/>
    <dgm:cxn modelId="{C779022D-CBE7-41E3-B86A-EB26844153F9}" type="presParOf" srcId="{2873F820-79A5-4AFB-962E-E6EB969296E1}" destId="{CF1437CC-E0D0-4C3A-9FAB-3511AD49B4A3}" srcOrd="2" destOrd="0" presId="urn:microsoft.com/office/officeart/2005/8/layout/orgChart1"/>
    <dgm:cxn modelId="{62C90D35-8430-4703-BEA9-8735C0419A67}" type="presParOf" srcId="{2873F820-79A5-4AFB-962E-E6EB969296E1}" destId="{5C504ECF-C929-4EC2-91AD-839506BFEE3C}" srcOrd="3" destOrd="0" presId="urn:microsoft.com/office/officeart/2005/8/layout/orgChart1"/>
    <dgm:cxn modelId="{53FFE500-72DF-4607-9161-79D8CCC312EA}" type="presParOf" srcId="{5C504ECF-C929-4EC2-91AD-839506BFEE3C}" destId="{2278074C-2802-4FF7-B407-04F59F1144BD}" srcOrd="0" destOrd="0" presId="urn:microsoft.com/office/officeart/2005/8/layout/orgChart1"/>
    <dgm:cxn modelId="{7BB33C82-3A4E-46BB-A622-DD6CF8E87B1B}" type="presParOf" srcId="{2278074C-2802-4FF7-B407-04F59F1144BD}" destId="{0A02E700-D178-4FE0-9386-8C3F9EAA5959}" srcOrd="0" destOrd="0" presId="urn:microsoft.com/office/officeart/2005/8/layout/orgChart1"/>
    <dgm:cxn modelId="{9C2DF191-4EEA-436F-98F8-410AD9891C86}" type="presParOf" srcId="{2278074C-2802-4FF7-B407-04F59F1144BD}" destId="{A794F37A-1A36-4E56-BAC3-66A40200BD2F}" srcOrd="1" destOrd="0" presId="urn:microsoft.com/office/officeart/2005/8/layout/orgChart1"/>
    <dgm:cxn modelId="{AC0418D0-61E3-46A0-BDE3-90EFFB08DB49}" type="presParOf" srcId="{5C504ECF-C929-4EC2-91AD-839506BFEE3C}" destId="{9D53806F-FD66-4BA6-9A56-7B232371164F}" srcOrd="1" destOrd="0" presId="urn:microsoft.com/office/officeart/2005/8/layout/orgChart1"/>
    <dgm:cxn modelId="{3633761F-5230-4085-B7BA-5701844E54B7}" type="presParOf" srcId="{5C504ECF-C929-4EC2-91AD-839506BFEE3C}" destId="{2A877C1B-C0B5-4856-81D4-04BDBDD4C158}" srcOrd="2" destOrd="0" presId="urn:microsoft.com/office/officeart/2005/8/layout/orgChart1"/>
    <dgm:cxn modelId="{475A070A-9FD0-48D3-833F-7F452C2A636C}" type="presParOf" srcId="{2873F820-79A5-4AFB-962E-E6EB969296E1}" destId="{B71D0752-5A3B-4E18-BED7-FE28723C4173}" srcOrd="4" destOrd="0" presId="urn:microsoft.com/office/officeart/2005/8/layout/orgChart1"/>
    <dgm:cxn modelId="{4AC8C0C3-03E9-424E-9AD7-37DFE0A2567E}" type="presParOf" srcId="{2873F820-79A5-4AFB-962E-E6EB969296E1}" destId="{53344B27-DF0A-4B0F-989D-9EEC36BFCC94}" srcOrd="5" destOrd="0" presId="urn:microsoft.com/office/officeart/2005/8/layout/orgChart1"/>
    <dgm:cxn modelId="{88D104EC-BEB1-4E27-8D4B-39F2E1691BE0}" type="presParOf" srcId="{53344B27-DF0A-4B0F-989D-9EEC36BFCC94}" destId="{93EB091F-3D6E-4017-9A58-8898643776C6}" srcOrd="0" destOrd="0" presId="urn:microsoft.com/office/officeart/2005/8/layout/orgChart1"/>
    <dgm:cxn modelId="{D69D5AB1-55A1-4BA9-8613-28BC76F91686}" type="presParOf" srcId="{93EB091F-3D6E-4017-9A58-8898643776C6}" destId="{C3B837A2-B7B5-480F-B235-E3CD93CA8690}" srcOrd="0" destOrd="0" presId="urn:microsoft.com/office/officeart/2005/8/layout/orgChart1"/>
    <dgm:cxn modelId="{E1B4825F-798A-44DA-AC9C-4BA3886FB506}" type="presParOf" srcId="{93EB091F-3D6E-4017-9A58-8898643776C6}" destId="{A2D93008-9C97-46C2-BB76-C6ADD6A8971C}" srcOrd="1" destOrd="0" presId="urn:microsoft.com/office/officeart/2005/8/layout/orgChart1"/>
    <dgm:cxn modelId="{B217D069-FE17-4DCF-99E0-2F9E9964E1F2}" type="presParOf" srcId="{53344B27-DF0A-4B0F-989D-9EEC36BFCC94}" destId="{DEB259FD-D89A-45C3-A174-61ECF913E901}" srcOrd="1" destOrd="0" presId="urn:microsoft.com/office/officeart/2005/8/layout/orgChart1"/>
    <dgm:cxn modelId="{6D2EAD61-46E8-4511-A6A0-C0E09451E9F4}" type="presParOf" srcId="{53344B27-DF0A-4B0F-989D-9EEC36BFCC94}" destId="{24C9D2CA-A71C-4FB7-A819-CBB896230EB7}" srcOrd="2" destOrd="0" presId="urn:microsoft.com/office/officeart/2005/8/layout/orgChart1"/>
    <dgm:cxn modelId="{8C9D821F-C6C8-4632-BAC8-2F7F0F26754F}" type="presParOf" srcId="{705607E2-ED4C-4793-ABB9-545797248D83}" destId="{690C02C0-B3D5-445A-823E-03849C7B193A}" srcOrd="2" destOrd="0" presId="urn:microsoft.com/office/officeart/2005/8/layout/orgChart1"/>
    <dgm:cxn modelId="{6367734B-CCB8-4069-A7EF-8F23B6894381}" type="presParOf" srcId="{262E16A5-0A58-44AE-8F68-846A350B14D5}" destId="{2F0875C6-75CE-47D2-AFE9-D9E353C7FB5D}" srcOrd="2" destOrd="0" presId="urn:microsoft.com/office/officeart/2005/8/layout/orgChart1"/>
    <dgm:cxn modelId="{4B7FC810-279F-4170-ABE4-126153222807}" type="presParOf" srcId="{262E16A5-0A58-44AE-8F68-846A350B14D5}" destId="{76A115EC-AEC1-44A2-B885-3EA6708A440C}" srcOrd="3" destOrd="0" presId="urn:microsoft.com/office/officeart/2005/8/layout/orgChart1"/>
    <dgm:cxn modelId="{7843EBB7-F7C0-4FDB-B9EA-460ED1624A82}" type="presParOf" srcId="{76A115EC-AEC1-44A2-B885-3EA6708A440C}" destId="{C93F7BA8-E92E-4968-B6D5-38F9E5DCBD84}" srcOrd="0" destOrd="0" presId="urn:microsoft.com/office/officeart/2005/8/layout/orgChart1"/>
    <dgm:cxn modelId="{76CA60BB-5B74-4463-9A41-7E3B33B85A24}" type="presParOf" srcId="{C93F7BA8-E92E-4968-B6D5-38F9E5DCBD84}" destId="{23E46AB4-2BC7-4F72-A0BD-565562DD4C9D}" srcOrd="0" destOrd="0" presId="urn:microsoft.com/office/officeart/2005/8/layout/orgChart1"/>
    <dgm:cxn modelId="{CD0DA331-A900-44B0-9F5F-8A1734C020EE}" type="presParOf" srcId="{C93F7BA8-E92E-4968-B6D5-38F9E5DCBD84}" destId="{CD2EC320-985E-46EF-9C00-6CB199F40AB6}" srcOrd="1" destOrd="0" presId="urn:microsoft.com/office/officeart/2005/8/layout/orgChart1"/>
    <dgm:cxn modelId="{5A2BACFC-7DA8-45F8-B090-B8C91DAAF017}" type="presParOf" srcId="{76A115EC-AEC1-44A2-B885-3EA6708A440C}" destId="{B6C350E9-2A6D-4475-A276-BE83B55CCCAE}" srcOrd="1" destOrd="0" presId="urn:microsoft.com/office/officeart/2005/8/layout/orgChart1"/>
    <dgm:cxn modelId="{ED125209-E2D5-4DF5-9DC7-6B13154CF7C9}" type="presParOf" srcId="{B6C350E9-2A6D-4475-A276-BE83B55CCCAE}" destId="{9FB7A57F-04FD-4D8C-A284-8355DD93BE90}" srcOrd="0" destOrd="0" presId="urn:microsoft.com/office/officeart/2005/8/layout/orgChart1"/>
    <dgm:cxn modelId="{5132074C-A2EE-4CB1-A363-854911EC44CE}" type="presParOf" srcId="{B6C350E9-2A6D-4475-A276-BE83B55CCCAE}" destId="{58971158-1FEC-4009-8875-0BD1C9A26C10}" srcOrd="1" destOrd="0" presId="urn:microsoft.com/office/officeart/2005/8/layout/orgChart1"/>
    <dgm:cxn modelId="{F223D061-0E1E-4E00-8B79-417F56AB95E2}" type="presParOf" srcId="{58971158-1FEC-4009-8875-0BD1C9A26C10}" destId="{15B5EF4C-E952-4C97-B57F-914E1E22D5BF}" srcOrd="0" destOrd="0" presId="urn:microsoft.com/office/officeart/2005/8/layout/orgChart1"/>
    <dgm:cxn modelId="{0BA593B2-B93E-4F14-A2D9-173A5C096444}" type="presParOf" srcId="{15B5EF4C-E952-4C97-B57F-914E1E22D5BF}" destId="{C5EBD4BB-DD6E-447C-9003-0590B16A1F1E}" srcOrd="0" destOrd="0" presId="urn:microsoft.com/office/officeart/2005/8/layout/orgChart1"/>
    <dgm:cxn modelId="{94341789-03AB-4D18-B4AF-DE461AD5B41C}" type="presParOf" srcId="{15B5EF4C-E952-4C97-B57F-914E1E22D5BF}" destId="{D08D18A7-1D37-4C35-A101-A8D9CD37EEEF}" srcOrd="1" destOrd="0" presId="urn:microsoft.com/office/officeart/2005/8/layout/orgChart1"/>
    <dgm:cxn modelId="{1F385BB3-8E73-4AA1-866F-6261AA667C08}" type="presParOf" srcId="{58971158-1FEC-4009-8875-0BD1C9A26C10}" destId="{6499118D-1B4E-4C0F-8C5D-7843A657B168}" srcOrd="1" destOrd="0" presId="urn:microsoft.com/office/officeart/2005/8/layout/orgChart1"/>
    <dgm:cxn modelId="{9C0E518B-236B-4F18-89AF-0F7EC9EC4662}" type="presParOf" srcId="{58971158-1FEC-4009-8875-0BD1C9A26C10}" destId="{53C54B2C-D1E7-4D3D-B554-4F558FA36FB0}" srcOrd="2" destOrd="0" presId="urn:microsoft.com/office/officeart/2005/8/layout/orgChart1"/>
    <dgm:cxn modelId="{97B31946-5956-4839-8FEF-F210033612B3}" type="presParOf" srcId="{B6C350E9-2A6D-4475-A276-BE83B55CCCAE}" destId="{F5FD3453-98A1-427D-87CB-CE45290D2EE4}" srcOrd="2" destOrd="0" presId="urn:microsoft.com/office/officeart/2005/8/layout/orgChart1"/>
    <dgm:cxn modelId="{F4A9E559-9668-4377-99E1-BDDEA19EDFA8}" type="presParOf" srcId="{B6C350E9-2A6D-4475-A276-BE83B55CCCAE}" destId="{83EC0C1D-39F7-46DA-BDE8-DE7852FD6EDE}" srcOrd="3" destOrd="0" presId="urn:microsoft.com/office/officeart/2005/8/layout/orgChart1"/>
    <dgm:cxn modelId="{E48644E7-355B-4BF0-9766-37346568DD2F}" type="presParOf" srcId="{83EC0C1D-39F7-46DA-BDE8-DE7852FD6EDE}" destId="{246BFF35-77BC-4E1B-8E40-90A3656C8DBD}" srcOrd="0" destOrd="0" presId="urn:microsoft.com/office/officeart/2005/8/layout/orgChart1"/>
    <dgm:cxn modelId="{FA61AA6F-130D-44B2-8014-D19192948A13}" type="presParOf" srcId="{246BFF35-77BC-4E1B-8E40-90A3656C8DBD}" destId="{452D2365-1F0C-47C8-BC75-E0D858C48EC0}" srcOrd="0" destOrd="0" presId="urn:microsoft.com/office/officeart/2005/8/layout/orgChart1"/>
    <dgm:cxn modelId="{F390E5FE-893F-46A3-AF9B-BD026F69F8A7}" type="presParOf" srcId="{246BFF35-77BC-4E1B-8E40-90A3656C8DBD}" destId="{D9EAFEBE-6212-4371-A236-75FF674D2DB6}" srcOrd="1" destOrd="0" presId="urn:microsoft.com/office/officeart/2005/8/layout/orgChart1"/>
    <dgm:cxn modelId="{59A9B333-A351-422D-AD6A-EE7700BF59CA}" type="presParOf" srcId="{83EC0C1D-39F7-46DA-BDE8-DE7852FD6EDE}" destId="{F3DA214E-16AF-46CA-88D0-3D4DD9907C4F}" srcOrd="1" destOrd="0" presId="urn:microsoft.com/office/officeart/2005/8/layout/orgChart1"/>
    <dgm:cxn modelId="{D4C869A4-B447-4065-90E0-3B33EF884D7D}" type="presParOf" srcId="{83EC0C1D-39F7-46DA-BDE8-DE7852FD6EDE}" destId="{11124DBB-D590-4D32-B4DE-011ABC8EC975}" srcOrd="2" destOrd="0" presId="urn:microsoft.com/office/officeart/2005/8/layout/orgChart1"/>
    <dgm:cxn modelId="{BC05652C-6E89-4B62-88E8-66C4D377EBE9}" type="presParOf" srcId="{76A115EC-AEC1-44A2-B885-3EA6708A440C}" destId="{80FA5151-CEB9-4F80-B488-8CFF26368DCB}" srcOrd="2" destOrd="0" presId="urn:microsoft.com/office/officeart/2005/8/layout/orgChart1"/>
    <dgm:cxn modelId="{29E7B3C4-4630-498D-AC97-1571EE43DC7F}" type="presParOf" srcId="{262E16A5-0A58-44AE-8F68-846A350B14D5}" destId="{3BEE921D-EC88-4069-A48A-577B055BEAFF}" srcOrd="4" destOrd="0" presId="urn:microsoft.com/office/officeart/2005/8/layout/orgChart1"/>
    <dgm:cxn modelId="{3B593913-01CB-4F10-8274-9782C29664CC}" type="presParOf" srcId="{262E16A5-0A58-44AE-8F68-846A350B14D5}" destId="{B65C1588-DD9F-4F05-92EA-0EBD940481D1}" srcOrd="5" destOrd="0" presId="urn:microsoft.com/office/officeart/2005/8/layout/orgChart1"/>
    <dgm:cxn modelId="{66AE7E12-D2FC-4BEE-B05B-792B80266B40}" type="presParOf" srcId="{B65C1588-DD9F-4F05-92EA-0EBD940481D1}" destId="{7E14B9B4-3047-47EF-9035-DB1C41690C14}" srcOrd="0" destOrd="0" presId="urn:microsoft.com/office/officeart/2005/8/layout/orgChart1"/>
    <dgm:cxn modelId="{B7777A15-CF3B-4F41-8168-CB4488264633}" type="presParOf" srcId="{7E14B9B4-3047-47EF-9035-DB1C41690C14}" destId="{AE331054-3CC5-4965-A7FD-374CC4F34E6C}" srcOrd="0" destOrd="0" presId="urn:microsoft.com/office/officeart/2005/8/layout/orgChart1"/>
    <dgm:cxn modelId="{D7252D36-19B2-4C31-99B2-F927E2A7F8B0}" type="presParOf" srcId="{7E14B9B4-3047-47EF-9035-DB1C41690C14}" destId="{94BFA216-C632-4CED-8A32-EEB9ADA44A2A}" srcOrd="1" destOrd="0" presId="urn:microsoft.com/office/officeart/2005/8/layout/orgChart1"/>
    <dgm:cxn modelId="{F299C9AB-4442-4264-AEC6-503E240EBF32}" type="presParOf" srcId="{B65C1588-DD9F-4F05-92EA-0EBD940481D1}" destId="{7FC0665B-23B2-42E3-A051-AE3AB3985714}" srcOrd="1" destOrd="0" presId="urn:microsoft.com/office/officeart/2005/8/layout/orgChart1"/>
    <dgm:cxn modelId="{93722C01-2DD9-48EB-BB7E-85B280FF25BF}" type="presParOf" srcId="{7FC0665B-23B2-42E3-A051-AE3AB3985714}" destId="{9FC35EDF-9CEB-4CD5-B41E-1B83F2EE6B54}" srcOrd="0" destOrd="0" presId="urn:microsoft.com/office/officeart/2005/8/layout/orgChart1"/>
    <dgm:cxn modelId="{12CC2268-A324-4537-9AA1-350D95BFEDD2}" type="presParOf" srcId="{7FC0665B-23B2-42E3-A051-AE3AB3985714}" destId="{F93215F1-E966-4979-A94D-496A4D7CA8AE}" srcOrd="1" destOrd="0" presId="urn:microsoft.com/office/officeart/2005/8/layout/orgChart1"/>
    <dgm:cxn modelId="{F069205D-3D5C-4A56-A566-15E89558123E}" type="presParOf" srcId="{F93215F1-E966-4979-A94D-496A4D7CA8AE}" destId="{812037B3-B1F2-44D7-846E-2142D3546F31}" srcOrd="0" destOrd="0" presId="urn:microsoft.com/office/officeart/2005/8/layout/orgChart1"/>
    <dgm:cxn modelId="{CDBE5DE2-7F5A-4F6B-A5CD-2ADD7627C72F}" type="presParOf" srcId="{812037B3-B1F2-44D7-846E-2142D3546F31}" destId="{1EACED9F-45AA-4738-A095-D53E65A6F046}" srcOrd="0" destOrd="0" presId="urn:microsoft.com/office/officeart/2005/8/layout/orgChart1"/>
    <dgm:cxn modelId="{303CE38B-BC07-4BE6-AB92-E203D8B07E52}" type="presParOf" srcId="{812037B3-B1F2-44D7-846E-2142D3546F31}" destId="{A1BC6817-0BD5-43FA-969D-E481BDB82D64}" srcOrd="1" destOrd="0" presId="urn:microsoft.com/office/officeart/2005/8/layout/orgChart1"/>
    <dgm:cxn modelId="{7081A18A-16D4-4458-8B19-14EA38DA4254}" type="presParOf" srcId="{F93215F1-E966-4979-A94D-496A4D7CA8AE}" destId="{351D9DE8-F3D8-4B91-8DE6-3D899AA32D6E}" srcOrd="1" destOrd="0" presId="urn:microsoft.com/office/officeart/2005/8/layout/orgChart1"/>
    <dgm:cxn modelId="{6AE35F1A-FC4E-41C0-85CF-C54DA5CE6C1C}" type="presParOf" srcId="{F93215F1-E966-4979-A94D-496A4D7CA8AE}" destId="{04A4FC39-5F49-4C87-AA2B-DE4011E9B68D}" srcOrd="2" destOrd="0" presId="urn:microsoft.com/office/officeart/2005/8/layout/orgChart1"/>
    <dgm:cxn modelId="{4967875E-F1DC-4C17-AE51-02889133EFB2}" type="presParOf" srcId="{B65C1588-DD9F-4F05-92EA-0EBD940481D1}" destId="{C42B81AE-EBF7-48D3-ABF7-7E2FD84EDB36}" srcOrd="2" destOrd="0" presId="urn:microsoft.com/office/officeart/2005/8/layout/orgChart1"/>
    <dgm:cxn modelId="{4A65EE28-47B1-4536-99A6-9F4815F91115}" type="presParOf" srcId="{2A51F462-FBAE-4AEC-9253-C844FCA3B41F}" destId="{6830FC4E-88DB-44AE-BCED-9BA156CAAC6E}" srcOrd="2" destOrd="0" presId="urn:microsoft.com/office/officeart/2005/8/layout/orgChart1"/>
    <dgm:cxn modelId="{9A0F5FA6-8EF7-4525-B183-6D31267490D2}" type="presParOf" srcId="{7B48BEFF-C1A2-4CCA-B3CA-6D63E0059992}" destId="{1052345D-6021-40D9-8F3E-F20BE1D5235C}" srcOrd="4" destOrd="0" presId="urn:microsoft.com/office/officeart/2005/8/layout/orgChart1"/>
    <dgm:cxn modelId="{9E04757D-C258-469A-AB42-E82A6DA38EEA}" type="presParOf" srcId="{7B48BEFF-C1A2-4CCA-B3CA-6D63E0059992}" destId="{5704068C-5373-439A-BE1C-D195E06B2C63}" srcOrd="5" destOrd="0" presId="urn:microsoft.com/office/officeart/2005/8/layout/orgChart1"/>
    <dgm:cxn modelId="{20837CDE-78C2-4C4A-B58B-7A69F4B318FA}" type="presParOf" srcId="{5704068C-5373-439A-BE1C-D195E06B2C63}" destId="{A0B6CA1A-CD14-4D59-9B42-E71393BA4150}" srcOrd="0" destOrd="0" presId="urn:microsoft.com/office/officeart/2005/8/layout/orgChart1"/>
    <dgm:cxn modelId="{6E27D124-4220-4E39-BFAE-7F6E9ABD2AF7}" type="presParOf" srcId="{A0B6CA1A-CD14-4D59-9B42-E71393BA4150}" destId="{DCCA19C8-DAEA-4CEE-8EC1-53A82197CDCB}" srcOrd="0" destOrd="0" presId="urn:microsoft.com/office/officeart/2005/8/layout/orgChart1"/>
    <dgm:cxn modelId="{F5B78130-B2C5-440F-A619-12000D493A2F}" type="presParOf" srcId="{A0B6CA1A-CD14-4D59-9B42-E71393BA4150}" destId="{74AD20FE-00DC-4632-A6F3-EBCE69896850}" srcOrd="1" destOrd="0" presId="urn:microsoft.com/office/officeart/2005/8/layout/orgChart1"/>
    <dgm:cxn modelId="{163E4356-93D7-4E96-8812-7EE6FE6FC0BC}" type="presParOf" srcId="{5704068C-5373-439A-BE1C-D195E06B2C63}" destId="{BA7A92D9-805F-4CE2-B3A0-329DAA1CB291}" srcOrd="1" destOrd="0" presId="urn:microsoft.com/office/officeart/2005/8/layout/orgChart1"/>
    <dgm:cxn modelId="{9928729F-AA44-4E03-A437-E7DB39640318}" type="presParOf" srcId="{BA7A92D9-805F-4CE2-B3A0-329DAA1CB291}" destId="{D14C10F2-AC59-4891-9F47-01AB070BFE50}" srcOrd="0" destOrd="0" presId="urn:microsoft.com/office/officeart/2005/8/layout/orgChart1"/>
    <dgm:cxn modelId="{84FFFB19-78C4-41C3-AD57-C68553392E94}" type="presParOf" srcId="{BA7A92D9-805F-4CE2-B3A0-329DAA1CB291}" destId="{3A2775AA-C87E-4749-8DC1-B0F38C2677FA}" srcOrd="1" destOrd="0" presId="urn:microsoft.com/office/officeart/2005/8/layout/orgChart1"/>
    <dgm:cxn modelId="{29287C23-58E7-4BD6-B18A-5455C491EFE2}" type="presParOf" srcId="{3A2775AA-C87E-4749-8DC1-B0F38C2677FA}" destId="{65814CA1-9A27-4F13-AA45-306030A0C834}" srcOrd="0" destOrd="0" presId="urn:microsoft.com/office/officeart/2005/8/layout/orgChart1"/>
    <dgm:cxn modelId="{CAB18082-8E7F-4BC6-B3C0-E9B52D185CBF}" type="presParOf" srcId="{65814CA1-9A27-4F13-AA45-306030A0C834}" destId="{1F2E0818-82CF-44DB-8D4D-0547759EB28E}" srcOrd="0" destOrd="0" presId="urn:microsoft.com/office/officeart/2005/8/layout/orgChart1"/>
    <dgm:cxn modelId="{5D2C71EC-E49A-49B4-A821-EF567AB2E840}" type="presParOf" srcId="{65814CA1-9A27-4F13-AA45-306030A0C834}" destId="{2774E4E8-0514-4D43-9FD0-504860F3E41D}" srcOrd="1" destOrd="0" presId="urn:microsoft.com/office/officeart/2005/8/layout/orgChart1"/>
    <dgm:cxn modelId="{BF590FE4-1E09-4AC5-9815-FA0628FAE411}" type="presParOf" srcId="{3A2775AA-C87E-4749-8DC1-B0F38C2677FA}" destId="{A7865541-5033-44DA-8DB8-4BFC70E4D1A0}" srcOrd="1" destOrd="0" presId="urn:microsoft.com/office/officeart/2005/8/layout/orgChart1"/>
    <dgm:cxn modelId="{01E48903-A4D3-4452-9CB6-700E43EFB154}" type="presParOf" srcId="{3A2775AA-C87E-4749-8DC1-B0F38C2677FA}" destId="{73E0B1A3-1937-40C2-9864-47968FC052EC}" srcOrd="2" destOrd="0" presId="urn:microsoft.com/office/officeart/2005/8/layout/orgChart1"/>
    <dgm:cxn modelId="{BEBF1E09-9F33-415B-A6C9-CCE5BD5B3B03}" type="presParOf" srcId="{BA7A92D9-805F-4CE2-B3A0-329DAA1CB291}" destId="{7F8F6D74-C13C-4013-837D-20E5BF367539}" srcOrd="2" destOrd="0" presId="urn:microsoft.com/office/officeart/2005/8/layout/orgChart1"/>
    <dgm:cxn modelId="{906612C3-9253-4B4A-A447-7DA9F242B3D2}" type="presParOf" srcId="{BA7A92D9-805F-4CE2-B3A0-329DAA1CB291}" destId="{184A3621-87F7-45EC-8F45-F3CDD21C82B3}" srcOrd="3" destOrd="0" presId="urn:microsoft.com/office/officeart/2005/8/layout/orgChart1"/>
    <dgm:cxn modelId="{23E78BFD-BA4E-408A-9207-F5682B6D9F55}" type="presParOf" srcId="{184A3621-87F7-45EC-8F45-F3CDD21C82B3}" destId="{8FD188E8-2338-4285-B0C9-6287A14BB357}" srcOrd="0" destOrd="0" presId="urn:microsoft.com/office/officeart/2005/8/layout/orgChart1"/>
    <dgm:cxn modelId="{CA0E9B28-62DC-42EF-BDEE-B80EFB83E5B0}" type="presParOf" srcId="{8FD188E8-2338-4285-B0C9-6287A14BB357}" destId="{0083670F-276F-4969-A67E-8FAE69D9A035}" srcOrd="0" destOrd="0" presId="urn:microsoft.com/office/officeart/2005/8/layout/orgChart1"/>
    <dgm:cxn modelId="{7D031A33-2F85-4326-9B64-60B975F4D3EE}" type="presParOf" srcId="{8FD188E8-2338-4285-B0C9-6287A14BB357}" destId="{D0608D7F-40E4-45F6-8F7D-4F05BA90C95D}" srcOrd="1" destOrd="0" presId="urn:microsoft.com/office/officeart/2005/8/layout/orgChart1"/>
    <dgm:cxn modelId="{07880361-9762-40AE-8230-6B68878E3336}" type="presParOf" srcId="{184A3621-87F7-45EC-8F45-F3CDD21C82B3}" destId="{9A323898-FABE-4794-80B9-C7391C74B70A}" srcOrd="1" destOrd="0" presId="urn:microsoft.com/office/officeart/2005/8/layout/orgChart1"/>
    <dgm:cxn modelId="{024E2275-A2DA-4962-A80B-A0EAB150F725}" type="presParOf" srcId="{184A3621-87F7-45EC-8F45-F3CDD21C82B3}" destId="{D33F40B8-72E0-4C01-962B-D3849DA098A1}" srcOrd="2" destOrd="0" presId="urn:microsoft.com/office/officeart/2005/8/layout/orgChart1"/>
    <dgm:cxn modelId="{1833333F-5F40-4B22-9106-A24D09518F1D}" type="presParOf" srcId="{BA7A92D9-805F-4CE2-B3A0-329DAA1CB291}" destId="{24916716-BAA7-4EDA-A7C7-2AA285EEAAB6}" srcOrd="4" destOrd="0" presId="urn:microsoft.com/office/officeart/2005/8/layout/orgChart1"/>
    <dgm:cxn modelId="{B42F960C-8907-4957-A665-294AC52A591D}" type="presParOf" srcId="{BA7A92D9-805F-4CE2-B3A0-329DAA1CB291}" destId="{A4AC2FB7-CA3D-4433-890C-033FDAF447B8}" srcOrd="5" destOrd="0" presId="urn:microsoft.com/office/officeart/2005/8/layout/orgChart1"/>
    <dgm:cxn modelId="{1E921D09-D99F-4F0E-92B7-51374F3AA503}" type="presParOf" srcId="{A4AC2FB7-CA3D-4433-890C-033FDAF447B8}" destId="{F2BF08AA-9EF5-4565-9905-C3C967813F13}" srcOrd="0" destOrd="0" presId="urn:microsoft.com/office/officeart/2005/8/layout/orgChart1"/>
    <dgm:cxn modelId="{2C85DAE9-1424-4E5C-AB5E-712942278AA8}" type="presParOf" srcId="{F2BF08AA-9EF5-4565-9905-C3C967813F13}" destId="{8230B030-3729-4EA0-AE8B-ECAD64297E49}" srcOrd="0" destOrd="0" presId="urn:microsoft.com/office/officeart/2005/8/layout/orgChart1"/>
    <dgm:cxn modelId="{314201A7-5127-4981-9918-DED1346AD790}" type="presParOf" srcId="{F2BF08AA-9EF5-4565-9905-C3C967813F13}" destId="{2A9495AE-BFFE-4AA3-8F0F-DE22EA21B7B1}" srcOrd="1" destOrd="0" presId="urn:microsoft.com/office/officeart/2005/8/layout/orgChart1"/>
    <dgm:cxn modelId="{ABF7BFC1-AA54-4D89-8613-E20817D35A0A}" type="presParOf" srcId="{A4AC2FB7-CA3D-4433-890C-033FDAF447B8}" destId="{273A9E1F-0FC6-4F9E-AB1E-45F588F6C37E}" srcOrd="1" destOrd="0" presId="urn:microsoft.com/office/officeart/2005/8/layout/orgChart1"/>
    <dgm:cxn modelId="{FC2DA7EF-61B4-4B00-AD72-8395B99E496B}" type="presParOf" srcId="{A4AC2FB7-CA3D-4433-890C-033FDAF447B8}" destId="{105DF9B7-F854-4D8C-B7AA-8C94EC697A8D}" srcOrd="2" destOrd="0" presId="urn:microsoft.com/office/officeart/2005/8/layout/orgChart1"/>
    <dgm:cxn modelId="{DB4AC8FA-28F8-4C98-BD9E-9381ACE192C3}" type="presParOf" srcId="{BA7A92D9-805F-4CE2-B3A0-329DAA1CB291}" destId="{076140BA-3AB5-4032-BD96-DF397EECFA59}" srcOrd="6" destOrd="0" presId="urn:microsoft.com/office/officeart/2005/8/layout/orgChart1"/>
    <dgm:cxn modelId="{560E36E6-2189-4B85-AD61-110AF7D19858}" type="presParOf" srcId="{BA7A92D9-805F-4CE2-B3A0-329DAA1CB291}" destId="{20E9B2A9-6D20-41CF-9028-A6221EEE62B3}" srcOrd="7" destOrd="0" presId="urn:microsoft.com/office/officeart/2005/8/layout/orgChart1"/>
    <dgm:cxn modelId="{F3D2E552-BE8B-4E8A-94DA-B945DE294CEB}" type="presParOf" srcId="{20E9B2A9-6D20-41CF-9028-A6221EEE62B3}" destId="{59BDBBFF-3A7A-4346-94D3-1013266D3E1F}" srcOrd="0" destOrd="0" presId="urn:microsoft.com/office/officeart/2005/8/layout/orgChart1"/>
    <dgm:cxn modelId="{FC9F5F34-847D-4C4F-9DED-313E02AC66B3}" type="presParOf" srcId="{59BDBBFF-3A7A-4346-94D3-1013266D3E1F}" destId="{3B3CD384-F419-4DEE-B619-7BAD91E43B1E}" srcOrd="0" destOrd="0" presId="urn:microsoft.com/office/officeart/2005/8/layout/orgChart1"/>
    <dgm:cxn modelId="{3A1B683C-CCFB-4868-BE30-84356DF3A4B5}" type="presParOf" srcId="{59BDBBFF-3A7A-4346-94D3-1013266D3E1F}" destId="{749EAC46-F2A3-4D8F-BFA9-6B4E4C73AC2A}" srcOrd="1" destOrd="0" presId="urn:microsoft.com/office/officeart/2005/8/layout/orgChart1"/>
    <dgm:cxn modelId="{858BE06B-0368-40F4-B12A-0587DD9480C1}" type="presParOf" srcId="{20E9B2A9-6D20-41CF-9028-A6221EEE62B3}" destId="{0C54159C-7D72-4138-B046-31C679FA808C}" srcOrd="1" destOrd="0" presId="urn:microsoft.com/office/officeart/2005/8/layout/orgChart1"/>
    <dgm:cxn modelId="{F2FEE85D-6CFA-40B4-B899-1A8FFB007A8F}" type="presParOf" srcId="{20E9B2A9-6D20-41CF-9028-A6221EEE62B3}" destId="{88C2FDDC-A2B5-4BE4-8C01-5E384244C91E}" srcOrd="2" destOrd="0" presId="urn:microsoft.com/office/officeart/2005/8/layout/orgChart1"/>
    <dgm:cxn modelId="{5F843A63-12A0-4B69-B03B-577811063650}" type="presParOf" srcId="{5704068C-5373-439A-BE1C-D195E06B2C63}" destId="{E96D44C0-6565-4B57-B540-EC24357D6239}" srcOrd="2" destOrd="0" presId="urn:microsoft.com/office/officeart/2005/8/layout/orgChart1"/>
    <dgm:cxn modelId="{AFF254B9-BE25-4D3F-9F4D-D75D9607E380}" type="presParOf" srcId="{9EC9A148-F718-41F9-8521-C1EA051A0FAB}" destId="{92B70AA8-6635-4507-9DAD-CFBF31088868}" srcOrd="2" destOrd="0" presId="urn:microsoft.com/office/officeart/2005/8/layout/orgChart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82F7E8-5EDB-4530-9062-24BD5D59AB79}">
      <dsp:nvSpPr>
        <dsp:cNvPr id="0" name=""/>
        <dsp:cNvSpPr/>
      </dsp:nvSpPr>
      <dsp:spPr>
        <a:xfrm>
          <a:off x="3026306" y="1034"/>
          <a:ext cx="737878" cy="7378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kern="1200" dirty="0" smtClean="0"/>
            <a:t>Crear</a:t>
          </a:r>
          <a:endParaRPr lang="es-CO" sz="1000" kern="1200" dirty="0"/>
        </a:p>
      </dsp:txBody>
      <dsp:txXfrm>
        <a:off x="3026306" y="1034"/>
        <a:ext cx="737878" cy="737878"/>
      </dsp:txXfrm>
    </dsp:sp>
    <dsp:sp modelId="{436D4BE5-AFF6-48CA-B4F2-090697839F3F}">
      <dsp:nvSpPr>
        <dsp:cNvPr id="0" name=""/>
        <dsp:cNvSpPr/>
      </dsp:nvSpPr>
      <dsp:spPr>
        <a:xfrm>
          <a:off x="719367" y="40053"/>
          <a:ext cx="3826685" cy="3826685"/>
        </a:xfrm>
        <a:prstGeom prst="circularArrow">
          <a:avLst>
            <a:gd name="adj1" fmla="val 3760"/>
            <a:gd name="adj2" fmla="val 234590"/>
            <a:gd name="adj3" fmla="val 19828030"/>
            <a:gd name="adj4" fmla="val 18604594"/>
            <a:gd name="adj5" fmla="val 4387"/>
          </a:avLst>
        </a:prstGeom>
        <a:solidFill>
          <a:schemeClr val="accent4">
            <a:shade val="80000"/>
            <a:hueOff val="0"/>
            <a:satOff val="0"/>
            <a:lumOff val="0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FB3291-6CD9-4A57-8717-662E71E666DF}">
      <dsp:nvSpPr>
        <dsp:cNvPr id="0" name=""/>
        <dsp:cNvSpPr/>
      </dsp:nvSpPr>
      <dsp:spPr>
        <a:xfrm>
          <a:off x="3977173" y="1193383"/>
          <a:ext cx="737878" cy="7378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kern="1200" dirty="0" smtClean="0"/>
            <a:t>Configurar</a:t>
          </a:r>
          <a:endParaRPr lang="es-CO" sz="1000" kern="1200" dirty="0"/>
        </a:p>
      </dsp:txBody>
      <dsp:txXfrm>
        <a:off x="3977173" y="1193383"/>
        <a:ext cx="737878" cy="737878"/>
      </dsp:txXfrm>
    </dsp:sp>
    <dsp:sp modelId="{91247351-380F-41D7-8144-75B94197D4B0}">
      <dsp:nvSpPr>
        <dsp:cNvPr id="0" name=""/>
        <dsp:cNvSpPr/>
      </dsp:nvSpPr>
      <dsp:spPr>
        <a:xfrm>
          <a:off x="719367" y="40053"/>
          <a:ext cx="3826685" cy="3826685"/>
        </a:xfrm>
        <a:prstGeom prst="circularArrow">
          <a:avLst>
            <a:gd name="adj1" fmla="val 3760"/>
            <a:gd name="adj2" fmla="val 234590"/>
            <a:gd name="adj3" fmla="val 1231141"/>
            <a:gd name="adj4" fmla="val 21556704"/>
            <a:gd name="adj5" fmla="val 4387"/>
          </a:avLst>
        </a:prstGeom>
        <a:solidFill>
          <a:schemeClr val="accent4">
            <a:shade val="80000"/>
            <a:hueOff val="30574"/>
            <a:satOff val="-1963"/>
            <a:lumOff val="4851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82C366-2D2F-4645-B98B-9DE4DD220086}">
      <dsp:nvSpPr>
        <dsp:cNvPr id="0" name=""/>
        <dsp:cNvSpPr/>
      </dsp:nvSpPr>
      <dsp:spPr>
        <a:xfrm>
          <a:off x="3637812" y="2680218"/>
          <a:ext cx="737878" cy="7378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kern="1200" dirty="0" smtClean="0"/>
            <a:t>Activar</a:t>
          </a:r>
          <a:endParaRPr lang="es-CO" sz="1000" kern="1200" dirty="0"/>
        </a:p>
      </dsp:txBody>
      <dsp:txXfrm>
        <a:off x="3637812" y="2680218"/>
        <a:ext cx="737878" cy="737878"/>
      </dsp:txXfrm>
    </dsp:sp>
    <dsp:sp modelId="{29B1DF64-A743-4858-9264-03DE30062230}">
      <dsp:nvSpPr>
        <dsp:cNvPr id="0" name=""/>
        <dsp:cNvSpPr/>
      </dsp:nvSpPr>
      <dsp:spPr>
        <a:xfrm>
          <a:off x="719367" y="40053"/>
          <a:ext cx="3826685" cy="3826685"/>
        </a:xfrm>
        <a:prstGeom prst="circularArrow">
          <a:avLst>
            <a:gd name="adj1" fmla="val 3760"/>
            <a:gd name="adj2" fmla="val 234590"/>
            <a:gd name="adj3" fmla="val 4438326"/>
            <a:gd name="adj4" fmla="val 3307011"/>
            <a:gd name="adj5" fmla="val 4387"/>
          </a:avLst>
        </a:prstGeom>
        <a:solidFill>
          <a:schemeClr val="accent4">
            <a:shade val="80000"/>
            <a:hueOff val="61148"/>
            <a:satOff val="-3926"/>
            <a:lumOff val="9702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603F0DD-E976-4CBF-B24C-4E1D54CCCA7B}">
      <dsp:nvSpPr>
        <dsp:cNvPr id="0" name=""/>
        <dsp:cNvSpPr/>
      </dsp:nvSpPr>
      <dsp:spPr>
        <a:xfrm>
          <a:off x="2263770" y="3341922"/>
          <a:ext cx="737878" cy="7378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kern="1200" dirty="0" smtClean="0"/>
            <a:t>Espacio en disco</a:t>
          </a:r>
          <a:endParaRPr lang="es-CO" sz="1000" kern="1200" dirty="0"/>
        </a:p>
      </dsp:txBody>
      <dsp:txXfrm>
        <a:off x="2263770" y="3341922"/>
        <a:ext cx="737878" cy="737878"/>
      </dsp:txXfrm>
    </dsp:sp>
    <dsp:sp modelId="{89B20F28-D395-49FF-8C0A-BA8F2DFDEDF3}">
      <dsp:nvSpPr>
        <dsp:cNvPr id="0" name=""/>
        <dsp:cNvSpPr/>
      </dsp:nvSpPr>
      <dsp:spPr>
        <a:xfrm>
          <a:off x="719367" y="40053"/>
          <a:ext cx="3826685" cy="3826685"/>
        </a:xfrm>
        <a:prstGeom prst="circularArrow">
          <a:avLst>
            <a:gd name="adj1" fmla="val 3760"/>
            <a:gd name="adj2" fmla="val 234590"/>
            <a:gd name="adj3" fmla="val 7258399"/>
            <a:gd name="adj4" fmla="val 6127084"/>
            <a:gd name="adj5" fmla="val 4387"/>
          </a:avLst>
        </a:prstGeom>
        <a:solidFill>
          <a:schemeClr val="accent4">
            <a:shade val="80000"/>
            <a:hueOff val="91722"/>
            <a:satOff val="-5890"/>
            <a:lumOff val="14554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6FBE3D-2836-4E76-B63B-46A3FD58BE41}">
      <dsp:nvSpPr>
        <dsp:cNvPr id="0" name=""/>
        <dsp:cNvSpPr/>
      </dsp:nvSpPr>
      <dsp:spPr>
        <a:xfrm>
          <a:off x="889728" y="2680218"/>
          <a:ext cx="737878" cy="7378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kern="1200" dirty="0" smtClean="0"/>
            <a:t>Tunning</a:t>
          </a:r>
          <a:endParaRPr lang="es-CO" sz="1000" kern="1200" dirty="0"/>
        </a:p>
      </dsp:txBody>
      <dsp:txXfrm>
        <a:off x="889728" y="2680218"/>
        <a:ext cx="737878" cy="737878"/>
      </dsp:txXfrm>
    </dsp:sp>
    <dsp:sp modelId="{830ED88E-2E63-41A8-824C-500E58CE2CD6}">
      <dsp:nvSpPr>
        <dsp:cNvPr id="0" name=""/>
        <dsp:cNvSpPr/>
      </dsp:nvSpPr>
      <dsp:spPr>
        <a:xfrm>
          <a:off x="719367" y="40053"/>
          <a:ext cx="3826685" cy="3826685"/>
        </a:xfrm>
        <a:prstGeom prst="circularArrow">
          <a:avLst>
            <a:gd name="adj1" fmla="val 3760"/>
            <a:gd name="adj2" fmla="val 234590"/>
            <a:gd name="adj3" fmla="val 10608706"/>
            <a:gd name="adj4" fmla="val 9334269"/>
            <a:gd name="adj5" fmla="val 4387"/>
          </a:avLst>
        </a:prstGeom>
        <a:solidFill>
          <a:schemeClr val="accent4">
            <a:shade val="80000"/>
            <a:hueOff val="122296"/>
            <a:satOff val="-7853"/>
            <a:lumOff val="19405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C294F2-2BFF-485F-849C-D38C6A2A5D2A}">
      <dsp:nvSpPr>
        <dsp:cNvPr id="0" name=""/>
        <dsp:cNvSpPr/>
      </dsp:nvSpPr>
      <dsp:spPr>
        <a:xfrm>
          <a:off x="550368" y="1193383"/>
          <a:ext cx="737878" cy="7378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kern="1200" dirty="0" smtClean="0"/>
            <a:t>Desactivar</a:t>
          </a:r>
          <a:endParaRPr lang="es-CO" sz="1000" kern="1200" dirty="0"/>
        </a:p>
      </dsp:txBody>
      <dsp:txXfrm>
        <a:off x="550368" y="1193383"/>
        <a:ext cx="737878" cy="737878"/>
      </dsp:txXfrm>
    </dsp:sp>
    <dsp:sp modelId="{141AF6F9-C8F8-4CE8-93A1-8FFA7A3F2BDF}">
      <dsp:nvSpPr>
        <dsp:cNvPr id="0" name=""/>
        <dsp:cNvSpPr/>
      </dsp:nvSpPr>
      <dsp:spPr>
        <a:xfrm>
          <a:off x="719367" y="40053"/>
          <a:ext cx="3826685" cy="3826685"/>
        </a:xfrm>
        <a:prstGeom prst="circularArrow">
          <a:avLst>
            <a:gd name="adj1" fmla="val 3760"/>
            <a:gd name="adj2" fmla="val 234590"/>
            <a:gd name="adj3" fmla="val 13560816"/>
            <a:gd name="adj4" fmla="val 12337380"/>
            <a:gd name="adj5" fmla="val 4387"/>
          </a:avLst>
        </a:prstGeom>
        <a:solidFill>
          <a:schemeClr val="accent4">
            <a:shade val="80000"/>
            <a:hueOff val="152870"/>
            <a:satOff val="-9816"/>
            <a:lumOff val="24256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21CC78-B7B8-4E70-9812-B0A05186FBA4}">
      <dsp:nvSpPr>
        <dsp:cNvPr id="0" name=""/>
        <dsp:cNvSpPr/>
      </dsp:nvSpPr>
      <dsp:spPr>
        <a:xfrm>
          <a:off x="1501234" y="1034"/>
          <a:ext cx="737878" cy="73787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000" kern="1200" dirty="0" smtClean="0"/>
            <a:t>Eliminar</a:t>
          </a:r>
          <a:endParaRPr lang="es-CO" sz="1000" kern="1200" dirty="0"/>
        </a:p>
      </dsp:txBody>
      <dsp:txXfrm>
        <a:off x="1501234" y="1034"/>
        <a:ext cx="737878" cy="737878"/>
      </dsp:txXfrm>
    </dsp:sp>
    <dsp:sp modelId="{1898A4B2-E5F1-42AB-AC4B-93C8F5AEA0D0}">
      <dsp:nvSpPr>
        <dsp:cNvPr id="0" name=""/>
        <dsp:cNvSpPr/>
      </dsp:nvSpPr>
      <dsp:spPr>
        <a:xfrm>
          <a:off x="719367" y="40053"/>
          <a:ext cx="3826685" cy="3826685"/>
        </a:xfrm>
        <a:prstGeom prst="circularArrow">
          <a:avLst>
            <a:gd name="adj1" fmla="val 3760"/>
            <a:gd name="adj2" fmla="val 234590"/>
            <a:gd name="adj3" fmla="val 16741903"/>
            <a:gd name="adj4" fmla="val 15423507"/>
            <a:gd name="adj5" fmla="val 4387"/>
          </a:avLst>
        </a:prstGeom>
        <a:solidFill>
          <a:schemeClr val="accent4">
            <a:shade val="80000"/>
            <a:hueOff val="183444"/>
            <a:satOff val="-11779"/>
            <a:lumOff val="29107"/>
            <a:alphaOff val="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8D5A994-399F-42C2-B3A9-FC1933D6C588}">
      <dsp:nvSpPr>
        <dsp:cNvPr id="0" name=""/>
        <dsp:cNvSpPr/>
      </dsp:nvSpPr>
      <dsp:spPr>
        <a:xfrm>
          <a:off x="1422891" y="818253"/>
          <a:ext cx="1040124" cy="1053773"/>
        </a:xfrm>
        <a:prstGeom prst="ellipse">
          <a:avLst/>
        </a:prstGeom>
        <a:solidFill>
          <a:srgbClr val="FFCC00"/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es-CO" sz="1100" b="1" i="0" u="none" strike="noStrike" kern="1200" cap="none" normalizeH="0" baseline="0" dirty="0" smtClean="0">
              <a:ln>
                <a:noFill/>
              </a:ln>
              <a:solidFill>
                <a:schemeClr val="tx1">
                  <a:lumMod val="65000"/>
                  <a:lumOff val="35000"/>
                </a:schemeClr>
              </a:solidFill>
              <a:effectLst/>
              <a:latin typeface="+mj-lt"/>
            </a:rPr>
            <a:t>Ciclo de vida </a:t>
          </a:r>
        </a:p>
        <a:p>
          <a:pPr lvl="0" algn="ctr" defTabSz="488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b="1" kern="1200" dirty="0" smtClean="0">
              <a:solidFill>
                <a:schemeClr val="tx1">
                  <a:lumMod val="65000"/>
                  <a:lumOff val="35000"/>
                </a:schemeClr>
              </a:solidFill>
              <a:latin typeface="+mj-lt"/>
            </a:rPr>
            <a:t>Bases de Datos</a:t>
          </a:r>
          <a:endParaRPr lang="es-CO" sz="1100" b="1" kern="1200" dirty="0">
            <a:solidFill>
              <a:schemeClr val="tx1">
                <a:lumMod val="65000"/>
                <a:lumOff val="35000"/>
              </a:schemeClr>
            </a:solidFill>
          </a:endParaRPr>
        </a:p>
      </dsp:txBody>
      <dsp:txXfrm>
        <a:off x="1575214" y="972574"/>
        <a:ext cx="735478" cy="745131"/>
      </dsp:txXfrm>
    </dsp:sp>
    <dsp:sp modelId="{378FE783-AE3E-452E-977C-F0D4759D1D56}">
      <dsp:nvSpPr>
        <dsp:cNvPr id="0" name=""/>
        <dsp:cNvSpPr/>
      </dsp:nvSpPr>
      <dsp:spPr>
        <a:xfrm rot="16200000">
          <a:off x="1871060" y="730804"/>
          <a:ext cx="143786" cy="31113"/>
        </a:xfrm>
        <a:custGeom>
          <a:avLst/>
          <a:gdLst/>
          <a:ahLst/>
          <a:cxnLst/>
          <a:rect l="0" t="0" r="0" b="0"/>
          <a:pathLst>
            <a:path>
              <a:moveTo>
                <a:pt x="0" y="15556"/>
              </a:moveTo>
              <a:lnTo>
                <a:pt x="143786" y="15556"/>
              </a:lnTo>
            </a:path>
          </a:pathLst>
        </a:cu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500" kern="1200" dirty="0"/>
        </a:p>
      </dsp:txBody>
      <dsp:txXfrm>
        <a:off x="1939359" y="742766"/>
        <a:ext cx="7189" cy="7189"/>
      </dsp:txXfrm>
    </dsp:sp>
    <dsp:sp modelId="{E14D4872-E027-4B27-903F-303BA92E4DD1}">
      <dsp:nvSpPr>
        <dsp:cNvPr id="0" name=""/>
        <dsp:cNvSpPr/>
      </dsp:nvSpPr>
      <dsp:spPr>
        <a:xfrm>
          <a:off x="1607111" y="2782"/>
          <a:ext cx="671685" cy="671685"/>
        </a:xfrm>
        <a:prstGeom prst="ellipse">
          <a:avLst/>
        </a:prstGeom>
        <a:solidFill>
          <a:schemeClr val="bg1">
            <a:lumMod val="7500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700" kern="1200" dirty="0" smtClean="0"/>
            <a:t>Oracle</a:t>
          </a:r>
          <a:endParaRPr lang="es-CO" sz="700" kern="1200" dirty="0"/>
        </a:p>
      </dsp:txBody>
      <dsp:txXfrm>
        <a:off x="1705477" y="101148"/>
        <a:ext cx="474953" cy="474953"/>
      </dsp:txXfrm>
    </dsp:sp>
    <dsp:sp modelId="{EFB97CF4-7857-4A97-8DB7-A20B572615A7}">
      <dsp:nvSpPr>
        <dsp:cNvPr id="0" name=""/>
        <dsp:cNvSpPr/>
      </dsp:nvSpPr>
      <dsp:spPr>
        <a:xfrm rot="19285714">
          <a:off x="2335461" y="957561"/>
          <a:ext cx="147989" cy="31113"/>
        </a:xfrm>
        <a:custGeom>
          <a:avLst/>
          <a:gdLst/>
          <a:ahLst/>
          <a:cxnLst/>
          <a:rect l="0" t="0" r="0" b="0"/>
          <a:pathLst>
            <a:path>
              <a:moveTo>
                <a:pt x="0" y="15556"/>
              </a:moveTo>
              <a:lnTo>
                <a:pt x="147989" y="15556"/>
              </a:lnTo>
            </a:path>
          </a:pathLst>
        </a:cu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500" kern="1200" dirty="0"/>
        </a:p>
      </dsp:txBody>
      <dsp:txXfrm>
        <a:off x="2405756" y="969418"/>
        <a:ext cx="7399" cy="7399"/>
      </dsp:txXfrm>
    </dsp:sp>
    <dsp:sp modelId="{09B36F9D-6F1A-41A0-A152-BA3970A72328}">
      <dsp:nvSpPr>
        <dsp:cNvPr id="0" name=""/>
        <dsp:cNvSpPr/>
      </dsp:nvSpPr>
      <dsp:spPr>
        <a:xfrm>
          <a:off x="2394037" y="381745"/>
          <a:ext cx="671685" cy="671685"/>
        </a:xfrm>
        <a:prstGeom prst="ellipse">
          <a:avLst/>
        </a:prstGeom>
        <a:solidFill>
          <a:schemeClr val="bg1">
            <a:lumMod val="7500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700" kern="1200" dirty="0" smtClean="0"/>
            <a:t>DB2</a:t>
          </a:r>
          <a:endParaRPr lang="es-CO" sz="700" kern="1200" dirty="0"/>
        </a:p>
      </dsp:txBody>
      <dsp:txXfrm>
        <a:off x="2492403" y="480111"/>
        <a:ext cx="474953" cy="474953"/>
      </dsp:txXfrm>
    </dsp:sp>
    <dsp:sp modelId="{C546513F-D2A8-4964-99DE-4EF7A7B24A8C}">
      <dsp:nvSpPr>
        <dsp:cNvPr id="0" name=""/>
        <dsp:cNvSpPr/>
      </dsp:nvSpPr>
      <dsp:spPr>
        <a:xfrm rot="771429">
          <a:off x="2448416" y="1462102"/>
          <a:ext cx="150279" cy="31113"/>
        </a:xfrm>
        <a:custGeom>
          <a:avLst/>
          <a:gdLst/>
          <a:ahLst/>
          <a:cxnLst/>
          <a:rect l="0" t="0" r="0" b="0"/>
          <a:pathLst>
            <a:path>
              <a:moveTo>
                <a:pt x="0" y="15556"/>
              </a:moveTo>
              <a:lnTo>
                <a:pt x="150279" y="15556"/>
              </a:lnTo>
            </a:path>
          </a:pathLst>
        </a:cu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500" kern="1200" dirty="0"/>
        </a:p>
      </dsp:txBody>
      <dsp:txXfrm>
        <a:off x="2519799" y="1473902"/>
        <a:ext cx="7513" cy="7513"/>
      </dsp:txXfrm>
    </dsp:sp>
    <dsp:sp modelId="{14280865-8A84-435B-9F33-1E1ECFA63416}">
      <dsp:nvSpPr>
        <dsp:cNvPr id="0" name=""/>
        <dsp:cNvSpPr/>
      </dsp:nvSpPr>
      <dsp:spPr>
        <a:xfrm>
          <a:off x="2588391" y="1233268"/>
          <a:ext cx="671685" cy="671685"/>
        </a:xfrm>
        <a:prstGeom prst="ellipse">
          <a:avLst/>
        </a:prstGeom>
        <a:solidFill>
          <a:schemeClr val="bg1">
            <a:lumMod val="7500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700" kern="1200" dirty="0" smtClean="0"/>
            <a:t>SQL server</a:t>
          </a:r>
          <a:endParaRPr lang="es-CO" sz="700" kern="1200" dirty="0"/>
        </a:p>
      </dsp:txBody>
      <dsp:txXfrm>
        <a:off x="2686757" y="1331634"/>
        <a:ext cx="474953" cy="474953"/>
      </dsp:txXfrm>
    </dsp:sp>
    <dsp:sp modelId="{C36E509B-8FA6-419D-B9C8-984698CD0A26}">
      <dsp:nvSpPr>
        <dsp:cNvPr id="0" name=""/>
        <dsp:cNvSpPr/>
      </dsp:nvSpPr>
      <dsp:spPr>
        <a:xfrm rot="3857143">
          <a:off x="2129925" y="1868478"/>
          <a:ext cx="145091" cy="31113"/>
        </a:xfrm>
        <a:custGeom>
          <a:avLst/>
          <a:gdLst/>
          <a:ahLst/>
          <a:cxnLst/>
          <a:rect l="0" t="0" r="0" b="0"/>
          <a:pathLst>
            <a:path>
              <a:moveTo>
                <a:pt x="0" y="15556"/>
              </a:moveTo>
              <a:lnTo>
                <a:pt x="145091" y="15556"/>
              </a:lnTo>
            </a:path>
          </a:pathLst>
        </a:cu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500" kern="1200" dirty="0"/>
        </a:p>
      </dsp:txBody>
      <dsp:txXfrm>
        <a:off x="2198844" y="1880407"/>
        <a:ext cx="7254" cy="7254"/>
      </dsp:txXfrm>
    </dsp:sp>
    <dsp:sp modelId="{B9978B20-7229-4446-9310-DCBB600C3DFB}">
      <dsp:nvSpPr>
        <dsp:cNvPr id="0" name=""/>
        <dsp:cNvSpPr/>
      </dsp:nvSpPr>
      <dsp:spPr>
        <a:xfrm>
          <a:off x="2043822" y="1916137"/>
          <a:ext cx="671685" cy="671685"/>
        </a:xfrm>
        <a:prstGeom prst="ellipse">
          <a:avLst/>
        </a:prstGeom>
        <a:solidFill>
          <a:schemeClr val="accent1">
            <a:lumMod val="7500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700" kern="1200" dirty="0" smtClean="0"/>
            <a:t>Peoplesoft</a:t>
          </a:r>
          <a:endParaRPr lang="es-CO" sz="700" kern="1200" dirty="0"/>
        </a:p>
      </dsp:txBody>
      <dsp:txXfrm>
        <a:off x="2142188" y="2014503"/>
        <a:ext cx="474953" cy="474953"/>
      </dsp:txXfrm>
    </dsp:sp>
    <dsp:sp modelId="{906BFF4B-FCA1-4807-9388-F4BCDC931BB5}">
      <dsp:nvSpPr>
        <dsp:cNvPr id="0" name=""/>
        <dsp:cNvSpPr/>
      </dsp:nvSpPr>
      <dsp:spPr>
        <a:xfrm rot="6942857">
          <a:off x="1610890" y="1868478"/>
          <a:ext cx="145091" cy="31113"/>
        </a:xfrm>
        <a:custGeom>
          <a:avLst/>
          <a:gdLst/>
          <a:ahLst/>
          <a:cxnLst/>
          <a:rect l="0" t="0" r="0" b="0"/>
          <a:pathLst>
            <a:path>
              <a:moveTo>
                <a:pt x="0" y="15556"/>
              </a:moveTo>
              <a:lnTo>
                <a:pt x="145091" y="15556"/>
              </a:lnTo>
            </a:path>
          </a:pathLst>
        </a:cu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500" kern="1200" dirty="0"/>
        </a:p>
      </dsp:txBody>
      <dsp:txXfrm rot="10800000">
        <a:off x="1679808" y="1880407"/>
        <a:ext cx="7254" cy="7254"/>
      </dsp:txXfrm>
    </dsp:sp>
    <dsp:sp modelId="{2175368D-DC8B-43D7-8048-36076DA983F7}">
      <dsp:nvSpPr>
        <dsp:cNvPr id="0" name=""/>
        <dsp:cNvSpPr/>
      </dsp:nvSpPr>
      <dsp:spPr>
        <a:xfrm>
          <a:off x="1170400" y="1916137"/>
          <a:ext cx="671685" cy="671685"/>
        </a:xfrm>
        <a:prstGeom prst="ellipse">
          <a:avLst/>
        </a:prstGeom>
        <a:solidFill>
          <a:schemeClr val="accent1">
            <a:lumMod val="7500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700" kern="1200" dirty="0" smtClean="0"/>
            <a:t>JD Edwards</a:t>
          </a:r>
          <a:endParaRPr lang="es-CO" sz="700" kern="1200" dirty="0"/>
        </a:p>
      </dsp:txBody>
      <dsp:txXfrm>
        <a:off x="1268766" y="2014503"/>
        <a:ext cx="474953" cy="474953"/>
      </dsp:txXfrm>
    </dsp:sp>
    <dsp:sp modelId="{A47B5709-ABE9-4C26-A05E-BAB76A11DBF3}">
      <dsp:nvSpPr>
        <dsp:cNvPr id="0" name=""/>
        <dsp:cNvSpPr/>
      </dsp:nvSpPr>
      <dsp:spPr>
        <a:xfrm rot="10028571">
          <a:off x="1287211" y="1462102"/>
          <a:ext cx="150279" cy="31113"/>
        </a:xfrm>
        <a:custGeom>
          <a:avLst/>
          <a:gdLst/>
          <a:ahLst/>
          <a:cxnLst/>
          <a:rect l="0" t="0" r="0" b="0"/>
          <a:pathLst>
            <a:path>
              <a:moveTo>
                <a:pt x="0" y="15556"/>
              </a:moveTo>
              <a:lnTo>
                <a:pt x="150279" y="15556"/>
              </a:lnTo>
            </a:path>
          </a:pathLst>
        </a:cu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500" kern="1200" dirty="0"/>
        </a:p>
      </dsp:txBody>
      <dsp:txXfrm rot="10800000">
        <a:off x="1358594" y="1473902"/>
        <a:ext cx="7513" cy="7513"/>
      </dsp:txXfrm>
    </dsp:sp>
    <dsp:sp modelId="{F55136CF-2514-4040-B788-407C459C9625}">
      <dsp:nvSpPr>
        <dsp:cNvPr id="0" name=""/>
        <dsp:cNvSpPr/>
      </dsp:nvSpPr>
      <dsp:spPr>
        <a:xfrm>
          <a:off x="625830" y="1233268"/>
          <a:ext cx="671685" cy="671685"/>
        </a:xfrm>
        <a:prstGeom prst="ellipse">
          <a:avLst/>
        </a:prstGeom>
        <a:solidFill>
          <a:schemeClr val="accent1">
            <a:lumMod val="7500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700" kern="1200" dirty="0" smtClean="0"/>
            <a:t>AS400</a:t>
          </a:r>
          <a:endParaRPr lang="es-CO" sz="700" kern="1200" dirty="0"/>
        </a:p>
      </dsp:txBody>
      <dsp:txXfrm>
        <a:off x="724196" y="1331634"/>
        <a:ext cx="474953" cy="474953"/>
      </dsp:txXfrm>
    </dsp:sp>
    <dsp:sp modelId="{F338D4E1-CCE5-45B8-9DAF-558407E7729F}">
      <dsp:nvSpPr>
        <dsp:cNvPr id="0" name=""/>
        <dsp:cNvSpPr/>
      </dsp:nvSpPr>
      <dsp:spPr>
        <a:xfrm rot="13114286">
          <a:off x="1402457" y="957561"/>
          <a:ext cx="147989" cy="31113"/>
        </a:xfrm>
        <a:custGeom>
          <a:avLst/>
          <a:gdLst/>
          <a:ahLst/>
          <a:cxnLst/>
          <a:rect l="0" t="0" r="0" b="0"/>
          <a:pathLst>
            <a:path>
              <a:moveTo>
                <a:pt x="0" y="15556"/>
              </a:moveTo>
              <a:lnTo>
                <a:pt x="147989" y="15556"/>
              </a:lnTo>
            </a:path>
          </a:pathLst>
        </a:custGeom>
        <a:noFill/>
        <a:ln w="15875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500" kern="1200" dirty="0"/>
        </a:p>
      </dsp:txBody>
      <dsp:txXfrm rot="10800000">
        <a:off x="1472752" y="969418"/>
        <a:ext cx="7399" cy="7399"/>
      </dsp:txXfrm>
    </dsp:sp>
    <dsp:sp modelId="{AA1367AD-C40A-46BF-8B16-58A257B8B9E6}">
      <dsp:nvSpPr>
        <dsp:cNvPr id="0" name=""/>
        <dsp:cNvSpPr/>
      </dsp:nvSpPr>
      <dsp:spPr>
        <a:xfrm>
          <a:off x="820185" y="381745"/>
          <a:ext cx="671685" cy="671685"/>
        </a:xfrm>
        <a:prstGeom prst="ellipse">
          <a:avLst/>
        </a:prstGeom>
        <a:solidFill>
          <a:schemeClr val="accent1">
            <a:lumMod val="75000"/>
          </a:schemeClr>
        </a:solidFill>
        <a:ln w="15875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445" tIns="4445" rIns="4445" bIns="4445" numCol="1" spcCol="1270" anchor="ctr" anchorCtr="0">
          <a:noAutofit/>
        </a:bodyPr>
        <a:lstStyle/>
        <a:p>
          <a:pPr lvl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700" kern="1200" dirty="0" smtClean="0"/>
            <a:t>Otros aplicativos</a:t>
          </a:r>
          <a:endParaRPr lang="es-CO" sz="700" kern="1200" dirty="0"/>
        </a:p>
      </dsp:txBody>
      <dsp:txXfrm>
        <a:off x="918551" y="480111"/>
        <a:ext cx="474953" cy="47495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ítulo y descrip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09600"/>
            <a:ext cx="8915399" cy="311704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 con descrip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3275012" y="3505200"/>
            <a:ext cx="75365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4354046"/>
            <a:ext cx="8915399" cy="1555864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rjeta de nom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2438400"/>
            <a:ext cx="8915400" cy="2724845"/>
          </a:xfrm>
        </p:spPr>
        <p:txBody>
          <a:bodyPr anchor="b">
            <a:normAutofit/>
          </a:bodyPr>
          <a:lstStyle>
            <a:lvl1pPr algn="l">
              <a:defRPr sz="4800" b="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r la tarjeta de nomb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849949" y="609600"/>
            <a:ext cx="8393926" cy="2895600"/>
          </a:xfrm>
        </p:spPr>
        <p:txBody>
          <a:bodyPr anchor="ctr">
            <a:normAutofit/>
          </a:bodyPr>
          <a:lstStyle>
            <a:lvl1pPr algn="l">
              <a:defRPr sz="4800" b="0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2467652" y="648005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1114852" y="290530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/>
                </a:solidFill>
                <a:effectLst/>
                <a:latin typeface="Arial"/>
              </a:rPr>
              <a:t>”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dadero o fal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627407"/>
            <a:ext cx="8915399" cy="2880020"/>
          </a:xfrm>
        </p:spPr>
        <p:txBody>
          <a:bodyPr anchor="ctr">
            <a:normAutofit/>
          </a:bodyPr>
          <a:lstStyle>
            <a:lvl1pPr algn="l">
              <a:defRPr sz="4800" b="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589212" y="4343400"/>
            <a:ext cx="8915400" cy="838200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181600"/>
            <a:ext cx="8915400" cy="729622"/>
          </a:xfrm>
        </p:spPr>
        <p:txBody>
          <a:bodyPr vert="horz" lIns="91440" tIns="45720" rIns="91440" bIns="45720" rtlCol="0" anchor="t">
            <a:normAutofit/>
          </a:bodyPr>
          <a:lstStyle>
            <a:lvl1pPr>
              <a:buNone/>
              <a:defRPr lang="en-US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lvl="0" indent="0">
              <a:buNone/>
            </a:pPr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294812" y="627405"/>
            <a:ext cx="2207601" cy="5283817"/>
          </a:xfrm>
        </p:spPr>
        <p:txBody>
          <a:bodyPr vert="eaVert" anchor="ctr"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89212" y="627405"/>
            <a:ext cx="6477000" cy="5283817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2058750"/>
            <a:ext cx="8915399" cy="146880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3530129"/>
            <a:ext cx="8915399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31781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3244139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89212" y="2133600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90747" y="2126222"/>
            <a:ext cx="4313864" cy="3777622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39373" y="1972703"/>
            <a:ext cx="3992732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89212" y="2548966"/>
            <a:ext cx="4342893" cy="3354060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506629" y="1969475"/>
            <a:ext cx="399900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166957" y="2545738"/>
            <a:ext cx="4338674" cy="3354060"/>
          </a:xfrm>
        </p:spPr>
        <p:txBody>
          <a:bodyPr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787782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2" y="446088"/>
            <a:ext cx="3505199" cy="976312"/>
          </a:xfrm>
        </p:spPr>
        <p:txBody>
          <a:bodyPr anchor="b"/>
          <a:lstStyle>
            <a:lvl1pPr algn="l">
              <a:defRPr sz="2000" b="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3012" y="446088"/>
            <a:ext cx="5181600" cy="5414963"/>
          </a:xfrm>
        </p:spPr>
        <p:txBody>
          <a:bodyPr anchor="ctr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2" y="1598613"/>
            <a:ext cx="3505199" cy="426243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89213" y="4800600"/>
            <a:ext cx="891540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589212" y="634965"/>
            <a:ext cx="8915400" cy="3854970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s-ES" dirty="0" smtClean="0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89213" y="5367338"/>
            <a:ext cx="8915400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Freeform 11"/>
          <p:cNvSpPr/>
          <p:nvPr/>
        </p:nvSpPr>
        <p:spPr bwMode="auto">
          <a:xfrm flipV="1">
            <a:off x="-4189" y="491172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531812" y="4983087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1/24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º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0" r:id="rId10"/>
    <p:sldLayoutId id="2147483661" r:id="rId11"/>
    <p:sldLayoutId id="2147483662" r:id="rId12"/>
    <p:sldLayoutId id="2147483663" r:id="rId13"/>
    <p:sldLayoutId id="2147483664" r:id="rId14"/>
    <p:sldLayoutId id="2147483658" r:id="rId15"/>
    <p:sldLayoutId id="2147483659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12.pn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15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image" Target="../media/image6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14.pn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image" Target="../media/image17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image" Target="../media/image13.png"/><Relationship Id="rId30" Type="http://schemas.openxmlformats.org/officeDocument/2006/relationships/image" Target="../media/image16.pn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tags" Target="../tags/tag50.xml"/><Relationship Id="rId39" Type="http://schemas.openxmlformats.org/officeDocument/2006/relationships/tags" Target="../tags/tag63.xml"/><Relationship Id="rId21" Type="http://schemas.openxmlformats.org/officeDocument/2006/relationships/tags" Target="../tags/tag45.xml"/><Relationship Id="rId34" Type="http://schemas.openxmlformats.org/officeDocument/2006/relationships/tags" Target="../tags/tag58.xml"/><Relationship Id="rId42" Type="http://schemas.openxmlformats.org/officeDocument/2006/relationships/image" Target="../media/image17.png"/><Relationship Id="rId47" Type="http://schemas.openxmlformats.org/officeDocument/2006/relationships/image" Target="../media/image22.png"/><Relationship Id="rId50" Type="http://schemas.openxmlformats.org/officeDocument/2006/relationships/image" Target="../media/image24.png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9" Type="http://schemas.openxmlformats.org/officeDocument/2006/relationships/tags" Target="../tags/tag53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32" Type="http://schemas.openxmlformats.org/officeDocument/2006/relationships/tags" Target="../tags/tag56.xml"/><Relationship Id="rId37" Type="http://schemas.openxmlformats.org/officeDocument/2006/relationships/tags" Target="../tags/tag61.xml"/><Relationship Id="rId40" Type="http://schemas.openxmlformats.org/officeDocument/2006/relationships/slideLayout" Target="../slideLayouts/slideLayout2.xml"/><Relationship Id="rId45" Type="http://schemas.openxmlformats.org/officeDocument/2006/relationships/image" Target="../media/image20.png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36" Type="http://schemas.openxmlformats.org/officeDocument/2006/relationships/tags" Target="../tags/tag60.xml"/><Relationship Id="rId49" Type="http://schemas.openxmlformats.org/officeDocument/2006/relationships/image" Target="../media/image4.png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31" Type="http://schemas.openxmlformats.org/officeDocument/2006/relationships/tags" Target="../tags/tag55.xml"/><Relationship Id="rId44" Type="http://schemas.openxmlformats.org/officeDocument/2006/relationships/image" Target="../media/image19.png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Relationship Id="rId35" Type="http://schemas.openxmlformats.org/officeDocument/2006/relationships/tags" Target="../tags/tag59.xml"/><Relationship Id="rId43" Type="http://schemas.openxmlformats.org/officeDocument/2006/relationships/image" Target="../media/image18.png"/><Relationship Id="rId48" Type="http://schemas.openxmlformats.org/officeDocument/2006/relationships/image" Target="../media/image23.png"/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33" Type="http://schemas.openxmlformats.org/officeDocument/2006/relationships/tags" Target="../tags/tag57.xml"/><Relationship Id="rId38" Type="http://schemas.openxmlformats.org/officeDocument/2006/relationships/tags" Target="../tags/tag62.xml"/><Relationship Id="rId46" Type="http://schemas.openxmlformats.org/officeDocument/2006/relationships/image" Target="../media/image21.png"/><Relationship Id="rId20" Type="http://schemas.openxmlformats.org/officeDocument/2006/relationships/tags" Target="../tags/tag44.xml"/><Relationship Id="rId41" Type="http://schemas.openxmlformats.org/officeDocument/2006/relationships/image" Target="../media/image6.png"/><Relationship Id="rId1" Type="http://schemas.openxmlformats.org/officeDocument/2006/relationships/tags" Target="../tags/tag25.xml"/><Relationship Id="rId6" Type="http://schemas.openxmlformats.org/officeDocument/2006/relationships/tags" Target="../tags/tag3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71.xml"/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3" Type="http://schemas.openxmlformats.org/officeDocument/2006/relationships/tags" Target="../tags/tag66.xml"/><Relationship Id="rId21" Type="http://schemas.openxmlformats.org/officeDocument/2006/relationships/image" Target="../media/image26.png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image" Target="../media/image25.png"/><Relationship Id="rId1" Type="http://schemas.openxmlformats.org/officeDocument/2006/relationships/tags" Target="../tags/tag64.x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image" Target="../media/image11.png"/><Relationship Id="rId10" Type="http://schemas.openxmlformats.org/officeDocument/2006/relationships/tags" Target="../tags/tag73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image" Target="../media/image1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18" Type="http://schemas.openxmlformats.org/officeDocument/2006/relationships/tags" Target="../tags/tag99.xml"/><Relationship Id="rId26" Type="http://schemas.openxmlformats.org/officeDocument/2006/relationships/tags" Target="../tags/tag107.xml"/><Relationship Id="rId3" Type="http://schemas.openxmlformats.org/officeDocument/2006/relationships/tags" Target="../tags/tag84.xml"/><Relationship Id="rId21" Type="http://schemas.openxmlformats.org/officeDocument/2006/relationships/tags" Target="../tags/tag102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17" Type="http://schemas.openxmlformats.org/officeDocument/2006/relationships/tags" Target="../tags/tag98.xml"/><Relationship Id="rId25" Type="http://schemas.openxmlformats.org/officeDocument/2006/relationships/tags" Target="../tags/tag106.xml"/><Relationship Id="rId2" Type="http://schemas.openxmlformats.org/officeDocument/2006/relationships/tags" Target="../tags/tag83.xml"/><Relationship Id="rId16" Type="http://schemas.openxmlformats.org/officeDocument/2006/relationships/tags" Target="../tags/tag97.xml"/><Relationship Id="rId20" Type="http://schemas.openxmlformats.org/officeDocument/2006/relationships/tags" Target="../tags/tag101.xml"/><Relationship Id="rId29" Type="http://schemas.openxmlformats.org/officeDocument/2006/relationships/image" Target="../media/image12.png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24" Type="http://schemas.openxmlformats.org/officeDocument/2006/relationships/tags" Target="../tags/tag105.xml"/><Relationship Id="rId5" Type="http://schemas.openxmlformats.org/officeDocument/2006/relationships/tags" Target="../tags/tag86.xml"/><Relationship Id="rId15" Type="http://schemas.openxmlformats.org/officeDocument/2006/relationships/tags" Target="../tags/tag96.xml"/><Relationship Id="rId23" Type="http://schemas.openxmlformats.org/officeDocument/2006/relationships/tags" Target="../tags/tag104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91.xml"/><Relationship Id="rId19" Type="http://schemas.openxmlformats.org/officeDocument/2006/relationships/tags" Target="../tags/tag100.xml"/><Relationship Id="rId31" Type="http://schemas.openxmlformats.org/officeDocument/2006/relationships/image" Target="../media/image17.png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tags" Target="../tags/tag95.xml"/><Relationship Id="rId22" Type="http://schemas.openxmlformats.org/officeDocument/2006/relationships/tags" Target="../tags/tag103.xml"/><Relationship Id="rId27" Type="http://schemas.openxmlformats.org/officeDocument/2006/relationships/tags" Target="../tags/tag108.xml"/><Relationship Id="rId30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26" Type="http://schemas.openxmlformats.org/officeDocument/2006/relationships/tags" Target="../tags/tag134.xml"/><Relationship Id="rId117" Type="http://schemas.openxmlformats.org/officeDocument/2006/relationships/tags" Target="../tags/tag225.xml"/><Relationship Id="rId21" Type="http://schemas.openxmlformats.org/officeDocument/2006/relationships/tags" Target="../tags/tag129.xml"/><Relationship Id="rId42" Type="http://schemas.openxmlformats.org/officeDocument/2006/relationships/tags" Target="../tags/tag150.xml"/><Relationship Id="rId47" Type="http://schemas.openxmlformats.org/officeDocument/2006/relationships/tags" Target="../tags/tag155.xml"/><Relationship Id="rId63" Type="http://schemas.openxmlformats.org/officeDocument/2006/relationships/tags" Target="../tags/tag171.xml"/><Relationship Id="rId68" Type="http://schemas.openxmlformats.org/officeDocument/2006/relationships/tags" Target="../tags/tag176.xml"/><Relationship Id="rId84" Type="http://schemas.openxmlformats.org/officeDocument/2006/relationships/tags" Target="../tags/tag192.xml"/><Relationship Id="rId89" Type="http://schemas.openxmlformats.org/officeDocument/2006/relationships/tags" Target="../tags/tag197.xml"/><Relationship Id="rId112" Type="http://schemas.openxmlformats.org/officeDocument/2006/relationships/tags" Target="../tags/tag220.xml"/><Relationship Id="rId16" Type="http://schemas.openxmlformats.org/officeDocument/2006/relationships/tags" Target="../tags/tag124.xml"/><Relationship Id="rId107" Type="http://schemas.openxmlformats.org/officeDocument/2006/relationships/tags" Target="../tags/tag215.xml"/><Relationship Id="rId11" Type="http://schemas.openxmlformats.org/officeDocument/2006/relationships/tags" Target="../tags/tag119.xml"/><Relationship Id="rId32" Type="http://schemas.openxmlformats.org/officeDocument/2006/relationships/tags" Target="../tags/tag140.xml"/><Relationship Id="rId37" Type="http://schemas.openxmlformats.org/officeDocument/2006/relationships/tags" Target="../tags/tag145.xml"/><Relationship Id="rId53" Type="http://schemas.openxmlformats.org/officeDocument/2006/relationships/tags" Target="../tags/tag161.xml"/><Relationship Id="rId58" Type="http://schemas.openxmlformats.org/officeDocument/2006/relationships/tags" Target="../tags/tag166.xml"/><Relationship Id="rId74" Type="http://schemas.openxmlformats.org/officeDocument/2006/relationships/tags" Target="../tags/tag182.xml"/><Relationship Id="rId79" Type="http://schemas.openxmlformats.org/officeDocument/2006/relationships/tags" Target="../tags/tag187.xml"/><Relationship Id="rId102" Type="http://schemas.openxmlformats.org/officeDocument/2006/relationships/tags" Target="../tags/tag210.xml"/><Relationship Id="rId123" Type="http://schemas.openxmlformats.org/officeDocument/2006/relationships/image" Target="../media/image19.png"/><Relationship Id="rId5" Type="http://schemas.openxmlformats.org/officeDocument/2006/relationships/tags" Target="../tags/tag113.xml"/><Relationship Id="rId90" Type="http://schemas.openxmlformats.org/officeDocument/2006/relationships/tags" Target="../tags/tag198.xml"/><Relationship Id="rId95" Type="http://schemas.openxmlformats.org/officeDocument/2006/relationships/tags" Target="../tags/tag203.xml"/><Relationship Id="rId22" Type="http://schemas.openxmlformats.org/officeDocument/2006/relationships/tags" Target="../tags/tag130.xml"/><Relationship Id="rId27" Type="http://schemas.openxmlformats.org/officeDocument/2006/relationships/tags" Target="../tags/tag135.xml"/><Relationship Id="rId43" Type="http://schemas.openxmlformats.org/officeDocument/2006/relationships/tags" Target="../tags/tag151.xml"/><Relationship Id="rId48" Type="http://schemas.openxmlformats.org/officeDocument/2006/relationships/tags" Target="../tags/tag156.xml"/><Relationship Id="rId64" Type="http://schemas.openxmlformats.org/officeDocument/2006/relationships/tags" Target="../tags/tag172.xml"/><Relationship Id="rId69" Type="http://schemas.openxmlformats.org/officeDocument/2006/relationships/tags" Target="../tags/tag177.xml"/><Relationship Id="rId113" Type="http://schemas.openxmlformats.org/officeDocument/2006/relationships/tags" Target="../tags/tag221.xml"/><Relationship Id="rId118" Type="http://schemas.openxmlformats.org/officeDocument/2006/relationships/tags" Target="../tags/tag226.xml"/><Relationship Id="rId80" Type="http://schemas.openxmlformats.org/officeDocument/2006/relationships/tags" Target="../tags/tag188.xml"/><Relationship Id="rId85" Type="http://schemas.openxmlformats.org/officeDocument/2006/relationships/tags" Target="../tags/tag193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33" Type="http://schemas.openxmlformats.org/officeDocument/2006/relationships/tags" Target="../tags/tag141.xml"/><Relationship Id="rId38" Type="http://schemas.openxmlformats.org/officeDocument/2006/relationships/tags" Target="../tags/tag146.xml"/><Relationship Id="rId59" Type="http://schemas.openxmlformats.org/officeDocument/2006/relationships/tags" Target="../tags/tag167.xml"/><Relationship Id="rId103" Type="http://schemas.openxmlformats.org/officeDocument/2006/relationships/tags" Target="../tags/tag211.xml"/><Relationship Id="rId108" Type="http://schemas.openxmlformats.org/officeDocument/2006/relationships/tags" Target="../tags/tag216.xml"/><Relationship Id="rId54" Type="http://schemas.openxmlformats.org/officeDocument/2006/relationships/tags" Target="../tags/tag162.xml"/><Relationship Id="rId70" Type="http://schemas.openxmlformats.org/officeDocument/2006/relationships/tags" Target="../tags/tag178.xml"/><Relationship Id="rId75" Type="http://schemas.openxmlformats.org/officeDocument/2006/relationships/tags" Target="../tags/tag183.xml"/><Relationship Id="rId91" Type="http://schemas.openxmlformats.org/officeDocument/2006/relationships/tags" Target="../tags/tag199.xml"/><Relationship Id="rId96" Type="http://schemas.openxmlformats.org/officeDocument/2006/relationships/tags" Target="../tags/tag204.xml"/><Relationship Id="rId1" Type="http://schemas.openxmlformats.org/officeDocument/2006/relationships/tags" Target="../tags/tag109.xml"/><Relationship Id="rId6" Type="http://schemas.openxmlformats.org/officeDocument/2006/relationships/tags" Target="../tags/tag114.xml"/><Relationship Id="rId23" Type="http://schemas.openxmlformats.org/officeDocument/2006/relationships/tags" Target="../tags/tag131.xml"/><Relationship Id="rId28" Type="http://schemas.openxmlformats.org/officeDocument/2006/relationships/tags" Target="../tags/tag136.xml"/><Relationship Id="rId49" Type="http://schemas.openxmlformats.org/officeDocument/2006/relationships/tags" Target="../tags/tag157.xml"/><Relationship Id="rId114" Type="http://schemas.openxmlformats.org/officeDocument/2006/relationships/tags" Target="../tags/tag222.xml"/><Relationship Id="rId119" Type="http://schemas.openxmlformats.org/officeDocument/2006/relationships/tags" Target="../tags/tag227.xml"/><Relationship Id="rId44" Type="http://schemas.openxmlformats.org/officeDocument/2006/relationships/tags" Target="../tags/tag152.xml"/><Relationship Id="rId60" Type="http://schemas.openxmlformats.org/officeDocument/2006/relationships/tags" Target="../tags/tag168.xml"/><Relationship Id="rId65" Type="http://schemas.openxmlformats.org/officeDocument/2006/relationships/tags" Target="../tags/tag173.xml"/><Relationship Id="rId81" Type="http://schemas.openxmlformats.org/officeDocument/2006/relationships/tags" Target="../tags/tag189.xml"/><Relationship Id="rId86" Type="http://schemas.openxmlformats.org/officeDocument/2006/relationships/tags" Target="../tags/tag194.xml"/><Relationship Id="rId4" Type="http://schemas.openxmlformats.org/officeDocument/2006/relationships/tags" Target="../tags/tag112.xml"/><Relationship Id="rId9" Type="http://schemas.openxmlformats.org/officeDocument/2006/relationships/tags" Target="../tags/tag117.xml"/><Relationship Id="rId13" Type="http://schemas.openxmlformats.org/officeDocument/2006/relationships/tags" Target="../tags/tag121.xml"/><Relationship Id="rId18" Type="http://schemas.openxmlformats.org/officeDocument/2006/relationships/tags" Target="../tags/tag126.xml"/><Relationship Id="rId39" Type="http://schemas.openxmlformats.org/officeDocument/2006/relationships/tags" Target="../tags/tag147.xml"/><Relationship Id="rId109" Type="http://schemas.openxmlformats.org/officeDocument/2006/relationships/tags" Target="../tags/tag217.xml"/><Relationship Id="rId34" Type="http://schemas.openxmlformats.org/officeDocument/2006/relationships/tags" Target="../tags/tag142.xml"/><Relationship Id="rId50" Type="http://schemas.openxmlformats.org/officeDocument/2006/relationships/tags" Target="../tags/tag158.xml"/><Relationship Id="rId55" Type="http://schemas.openxmlformats.org/officeDocument/2006/relationships/tags" Target="../tags/tag163.xml"/><Relationship Id="rId76" Type="http://schemas.openxmlformats.org/officeDocument/2006/relationships/tags" Target="../tags/tag184.xml"/><Relationship Id="rId97" Type="http://schemas.openxmlformats.org/officeDocument/2006/relationships/tags" Target="../tags/tag205.xml"/><Relationship Id="rId104" Type="http://schemas.openxmlformats.org/officeDocument/2006/relationships/tags" Target="../tags/tag212.xml"/><Relationship Id="rId120" Type="http://schemas.openxmlformats.org/officeDocument/2006/relationships/slideLayout" Target="../slideLayouts/slideLayout2.xml"/><Relationship Id="rId7" Type="http://schemas.openxmlformats.org/officeDocument/2006/relationships/tags" Target="../tags/tag115.xml"/><Relationship Id="rId71" Type="http://schemas.openxmlformats.org/officeDocument/2006/relationships/tags" Target="../tags/tag179.xml"/><Relationship Id="rId92" Type="http://schemas.openxmlformats.org/officeDocument/2006/relationships/tags" Target="../tags/tag200.xml"/><Relationship Id="rId2" Type="http://schemas.openxmlformats.org/officeDocument/2006/relationships/tags" Target="../tags/tag110.xml"/><Relationship Id="rId29" Type="http://schemas.openxmlformats.org/officeDocument/2006/relationships/tags" Target="../tags/tag137.xml"/><Relationship Id="rId24" Type="http://schemas.openxmlformats.org/officeDocument/2006/relationships/tags" Target="../tags/tag132.xml"/><Relationship Id="rId40" Type="http://schemas.openxmlformats.org/officeDocument/2006/relationships/tags" Target="../tags/tag148.xml"/><Relationship Id="rId45" Type="http://schemas.openxmlformats.org/officeDocument/2006/relationships/tags" Target="../tags/tag153.xml"/><Relationship Id="rId66" Type="http://schemas.openxmlformats.org/officeDocument/2006/relationships/tags" Target="../tags/tag174.xml"/><Relationship Id="rId87" Type="http://schemas.openxmlformats.org/officeDocument/2006/relationships/tags" Target="../tags/tag195.xml"/><Relationship Id="rId110" Type="http://schemas.openxmlformats.org/officeDocument/2006/relationships/tags" Target="../tags/tag218.xml"/><Relationship Id="rId115" Type="http://schemas.openxmlformats.org/officeDocument/2006/relationships/tags" Target="../tags/tag223.xml"/><Relationship Id="rId61" Type="http://schemas.openxmlformats.org/officeDocument/2006/relationships/tags" Target="../tags/tag169.xml"/><Relationship Id="rId82" Type="http://schemas.openxmlformats.org/officeDocument/2006/relationships/tags" Target="../tags/tag190.xml"/><Relationship Id="rId19" Type="http://schemas.openxmlformats.org/officeDocument/2006/relationships/tags" Target="../tags/tag127.xml"/><Relationship Id="rId14" Type="http://schemas.openxmlformats.org/officeDocument/2006/relationships/tags" Target="../tags/tag122.xml"/><Relationship Id="rId30" Type="http://schemas.openxmlformats.org/officeDocument/2006/relationships/tags" Target="../tags/tag138.xml"/><Relationship Id="rId35" Type="http://schemas.openxmlformats.org/officeDocument/2006/relationships/tags" Target="../tags/tag143.xml"/><Relationship Id="rId56" Type="http://schemas.openxmlformats.org/officeDocument/2006/relationships/tags" Target="../tags/tag164.xml"/><Relationship Id="rId77" Type="http://schemas.openxmlformats.org/officeDocument/2006/relationships/tags" Target="../tags/tag185.xml"/><Relationship Id="rId100" Type="http://schemas.openxmlformats.org/officeDocument/2006/relationships/tags" Target="../tags/tag208.xml"/><Relationship Id="rId105" Type="http://schemas.openxmlformats.org/officeDocument/2006/relationships/tags" Target="../tags/tag213.xml"/><Relationship Id="rId8" Type="http://schemas.openxmlformats.org/officeDocument/2006/relationships/tags" Target="../tags/tag116.xml"/><Relationship Id="rId51" Type="http://schemas.openxmlformats.org/officeDocument/2006/relationships/tags" Target="../tags/tag159.xml"/><Relationship Id="rId72" Type="http://schemas.openxmlformats.org/officeDocument/2006/relationships/tags" Target="../tags/tag180.xml"/><Relationship Id="rId93" Type="http://schemas.openxmlformats.org/officeDocument/2006/relationships/tags" Target="../tags/tag201.xml"/><Relationship Id="rId98" Type="http://schemas.openxmlformats.org/officeDocument/2006/relationships/tags" Target="../tags/tag206.xml"/><Relationship Id="rId121" Type="http://schemas.openxmlformats.org/officeDocument/2006/relationships/image" Target="../media/image27.png"/><Relationship Id="rId3" Type="http://schemas.openxmlformats.org/officeDocument/2006/relationships/tags" Target="../tags/tag111.xml"/><Relationship Id="rId25" Type="http://schemas.openxmlformats.org/officeDocument/2006/relationships/tags" Target="../tags/tag133.xml"/><Relationship Id="rId46" Type="http://schemas.openxmlformats.org/officeDocument/2006/relationships/tags" Target="../tags/tag154.xml"/><Relationship Id="rId67" Type="http://schemas.openxmlformats.org/officeDocument/2006/relationships/tags" Target="../tags/tag175.xml"/><Relationship Id="rId116" Type="http://schemas.openxmlformats.org/officeDocument/2006/relationships/tags" Target="../tags/tag224.xml"/><Relationship Id="rId20" Type="http://schemas.openxmlformats.org/officeDocument/2006/relationships/tags" Target="../tags/tag128.xml"/><Relationship Id="rId41" Type="http://schemas.openxmlformats.org/officeDocument/2006/relationships/tags" Target="../tags/tag149.xml"/><Relationship Id="rId62" Type="http://schemas.openxmlformats.org/officeDocument/2006/relationships/tags" Target="../tags/tag170.xml"/><Relationship Id="rId83" Type="http://schemas.openxmlformats.org/officeDocument/2006/relationships/tags" Target="../tags/tag191.xml"/><Relationship Id="rId88" Type="http://schemas.openxmlformats.org/officeDocument/2006/relationships/tags" Target="../tags/tag196.xml"/><Relationship Id="rId111" Type="http://schemas.openxmlformats.org/officeDocument/2006/relationships/tags" Target="../tags/tag219.xml"/><Relationship Id="rId15" Type="http://schemas.openxmlformats.org/officeDocument/2006/relationships/tags" Target="../tags/tag123.xml"/><Relationship Id="rId36" Type="http://schemas.openxmlformats.org/officeDocument/2006/relationships/tags" Target="../tags/tag144.xml"/><Relationship Id="rId57" Type="http://schemas.openxmlformats.org/officeDocument/2006/relationships/tags" Target="../tags/tag165.xml"/><Relationship Id="rId106" Type="http://schemas.openxmlformats.org/officeDocument/2006/relationships/tags" Target="../tags/tag214.xml"/><Relationship Id="rId10" Type="http://schemas.openxmlformats.org/officeDocument/2006/relationships/tags" Target="../tags/tag118.xml"/><Relationship Id="rId31" Type="http://schemas.openxmlformats.org/officeDocument/2006/relationships/tags" Target="../tags/tag139.xml"/><Relationship Id="rId52" Type="http://schemas.openxmlformats.org/officeDocument/2006/relationships/tags" Target="../tags/tag160.xml"/><Relationship Id="rId73" Type="http://schemas.openxmlformats.org/officeDocument/2006/relationships/tags" Target="../tags/tag181.xml"/><Relationship Id="rId78" Type="http://schemas.openxmlformats.org/officeDocument/2006/relationships/tags" Target="../tags/tag186.xml"/><Relationship Id="rId94" Type="http://schemas.openxmlformats.org/officeDocument/2006/relationships/tags" Target="../tags/tag202.xml"/><Relationship Id="rId99" Type="http://schemas.openxmlformats.org/officeDocument/2006/relationships/tags" Target="../tags/tag207.xml"/><Relationship Id="rId101" Type="http://schemas.openxmlformats.org/officeDocument/2006/relationships/tags" Target="../tags/tag209.xml"/><Relationship Id="rId122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13" Type="http://schemas.openxmlformats.org/officeDocument/2006/relationships/diagramLayout" Target="../diagrams/layout2.xml"/><Relationship Id="rId3" Type="http://schemas.openxmlformats.org/officeDocument/2006/relationships/tags" Target="../tags/tag230.xml"/><Relationship Id="rId7" Type="http://schemas.openxmlformats.org/officeDocument/2006/relationships/diagramData" Target="../diagrams/data1.xml"/><Relationship Id="rId12" Type="http://schemas.openxmlformats.org/officeDocument/2006/relationships/diagramData" Target="../diagrams/data2.xml"/><Relationship Id="rId2" Type="http://schemas.openxmlformats.org/officeDocument/2006/relationships/tags" Target="../tags/tag229.xml"/><Relationship Id="rId16" Type="http://schemas.microsoft.com/office/2007/relationships/diagramDrawing" Target="../diagrams/drawing2.xml"/><Relationship Id="rId1" Type="http://schemas.openxmlformats.org/officeDocument/2006/relationships/tags" Target="../tags/tag228.xml"/><Relationship Id="rId6" Type="http://schemas.openxmlformats.org/officeDocument/2006/relationships/slideLayout" Target="../slideLayouts/slideLayout2.xml"/><Relationship Id="rId11" Type="http://schemas.microsoft.com/office/2007/relationships/diagramDrawing" Target="../diagrams/drawing1.xml"/><Relationship Id="rId5" Type="http://schemas.openxmlformats.org/officeDocument/2006/relationships/tags" Target="../tags/tag232.xml"/><Relationship Id="rId15" Type="http://schemas.openxmlformats.org/officeDocument/2006/relationships/diagramColors" Target="../diagrams/colors2.xml"/><Relationship Id="rId10" Type="http://schemas.openxmlformats.org/officeDocument/2006/relationships/diagramColors" Target="../diagrams/colors1.xml"/><Relationship Id="rId4" Type="http://schemas.openxmlformats.org/officeDocument/2006/relationships/tags" Target="../tags/tag231.xml"/><Relationship Id="rId9" Type="http://schemas.openxmlformats.org/officeDocument/2006/relationships/diagramQuickStyle" Target="../diagrams/quickStyle1.xml"/><Relationship Id="rId14" Type="http://schemas.openxmlformats.org/officeDocument/2006/relationships/diagramQuickStyle" Target="../diagrams/quickStyle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235.xml"/><Relationship Id="rId7" Type="http://schemas.openxmlformats.org/officeDocument/2006/relationships/image" Target="../media/image20.png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30.png"/><Relationship Id="rId5" Type="http://schemas.openxmlformats.org/officeDocument/2006/relationships/tags" Target="../tags/tag237.xml"/><Relationship Id="rId10" Type="http://schemas.openxmlformats.org/officeDocument/2006/relationships/image" Target="../media/image29.png"/><Relationship Id="rId4" Type="http://schemas.openxmlformats.org/officeDocument/2006/relationships/tags" Target="../tags/tag236.xml"/><Relationship Id="rId9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245.xml"/><Relationship Id="rId13" Type="http://schemas.openxmlformats.org/officeDocument/2006/relationships/image" Target="../media/image32.png"/><Relationship Id="rId3" Type="http://schemas.openxmlformats.org/officeDocument/2006/relationships/tags" Target="../tags/tag240.xml"/><Relationship Id="rId7" Type="http://schemas.openxmlformats.org/officeDocument/2006/relationships/tags" Target="../tags/tag244.xml"/><Relationship Id="rId12" Type="http://schemas.openxmlformats.org/officeDocument/2006/relationships/image" Target="../media/image31.png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tags" Target="../tags/tag243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42.xml"/><Relationship Id="rId15" Type="http://schemas.openxmlformats.org/officeDocument/2006/relationships/image" Target="../media/image17.png"/><Relationship Id="rId10" Type="http://schemas.openxmlformats.org/officeDocument/2006/relationships/tags" Target="../tags/tag247.xml"/><Relationship Id="rId4" Type="http://schemas.openxmlformats.org/officeDocument/2006/relationships/tags" Target="../tags/tag241.xml"/><Relationship Id="rId9" Type="http://schemas.openxmlformats.org/officeDocument/2006/relationships/tags" Target="../tags/tag246.xml"/><Relationship Id="rId1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55.xml"/><Relationship Id="rId13" Type="http://schemas.openxmlformats.org/officeDocument/2006/relationships/tags" Target="../tags/tag260.xml"/><Relationship Id="rId18" Type="http://schemas.openxmlformats.org/officeDocument/2006/relationships/image" Target="../media/image19.png"/><Relationship Id="rId3" Type="http://schemas.openxmlformats.org/officeDocument/2006/relationships/tags" Target="../tags/tag250.xml"/><Relationship Id="rId7" Type="http://schemas.openxmlformats.org/officeDocument/2006/relationships/tags" Target="../tags/tag254.xml"/><Relationship Id="rId12" Type="http://schemas.openxmlformats.org/officeDocument/2006/relationships/tags" Target="../tags/tag259.xml"/><Relationship Id="rId17" Type="http://schemas.openxmlformats.org/officeDocument/2006/relationships/image" Target="../media/image18.png"/><Relationship Id="rId2" Type="http://schemas.openxmlformats.org/officeDocument/2006/relationships/tags" Target="../tags/tag249.xml"/><Relationship Id="rId16" Type="http://schemas.openxmlformats.org/officeDocument/2006/relationships/image" Target="../media/image17.png"/><Relationship Id="rId20" Type="http://schemas.openxmlformats.org/officeDocument/2006/relationships/image" Target="../media/image34.png"/><Relationship Id="rId1" Type="http://schemas.openxmlformats.org/officeDocument/2006/relationships/tags" Target="../tags/tag248.xml"/><Relationship Id="rId6" Type="http://schemas.openxmlformats.org/officeDocument/2006/relationships/tags" Target="../tags/tag253.xml"/><Relationship Id="rId11" Type="http://schemas.openxmlformats.org/officeDocument/2006/relationships/tags" Target="../tags/tag258.xml"/><Relationship Id="rId5" Type="http://schemas.openxmlformats.org/officeDocument/2006/relationships/tags" Target="../tags/tag252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257.xml"/><Relationship Id="rId19" Type="http://schemas.openxmlformats.org/officeDocument/2006/relationships/image" Target="../media/image24.png"/><Relationship Id="rId4" Type="http://schemas.openxmlformats.org/officeDocument/2006/relationships/tags" Target="../tags/tag251.xml"/><Relationship Id="rId9" Type="http://schemas.openxmlformats.org/officeDocument/2006/relationships/tags" Target="../tags/tag256.xml"/><Relationship Id="rId14" Type="http://schemas.openxmlformats.org/officeDocument/2006/relationships/tags" Target="../tags/tag26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69.xml"/><Relationship Id="rId13" Type="http://schemas.openxmlformats.org/officeDocument/2006/relationships/tags" Target="../tags/tag274.xml"/><Relationship Id="rId18" Type="http://schemas.openxmlformats.org/officeDocument/2006/relationships/tags" Target="../tags/tag279.xml"/><Relationship Id="rId3" Type="http://schemas.openxmlformats.org/officeDocument/2006/relationships/tags" Target="../tags/tag264.xml"/><Relationship Id="rId21" Type="http://schemas.openxmlformats.org/officeDocument/2006/relationships/image" Target="../media/image19.png"/><Relationship Id="rId7" Type="http://schemas.openxmlformats.org/officeDocument/2006/relationships/tags" Target="../tags/tag268.xml"/><Relationship Id="rId12" Type="http://schemas.openxmlformats.org/officeDocument/2006/relationships/tags" Target="../tags/tag273.xml"/><Relationship Id="rId17" Type="http://schemas.openxmlformats.org/officeDocument/2006/relationships/tags" Target="../tags/tag278.xml"/><Relationship Id="rId2" Type="http://schemas.openxmlformats.org/officeDocument/2006/relationships/tags" Target="../tags/tag263.xml"/><Relationship Id="rId16" Type="http://schemas.openxmlformats.org/officeDocument/2006/relationships/tags" Target="../tags/tag277.xml"/><Relationship Id="rId20" Type="http://schemas.openxmlformats.org/officeDocument/2006/relationships/slideLayout" Target="../slideLayouts/slideLayout2.xml"/><Relationship Id="rId1" Type="http://schemas.openxmlformats.org/officeDocument/2006/relationships/tags" Target="../tags/tag262.xml"/><Relationship Id="rId6" Type="http://schemas.openxmlformats.org/officeDocument/2006/relationships/tags" Target="../tags/tag267.xml"/><Relationship Id="rId11" Type="http://schemas.openxmlformats.org/officeDocument/2006/relationships/tags" Target="../tags/tag272.xml"/><Relationship Id="rId24" Type="http://schemas.openxmlformats.org/officeDocument/2006/relationships/image" Target="../media/image24.png"/><Relationship Id="rId5" Type="http://schemas.openxmlformats.org/officeDocument/2006/relationships/tags" Target="../tags/tag266.xml"/><Relationship Id="rId15" Type="http://schemas.openxmlformats.org/officeDocument/2006/relationships/tags" Target="../tags/tag276.xml"/><Relationship Id="rId23" Type="http://schemas.openxmlformats.org/officeDocument/2006/relationships/image" Target="../media/image25.png"/><Relationship Id="rId10" Type="http://schemas.openxmlformats.org/officeDocument/2006/relationships/tags" Target="../tags/tag271.xml"/><Relationship Id="rId19" Type="http://schemas.openxmlformats.org/officeDocument/2006/relationships/tags" Target="../tags/tag280.xml"/><Relationship Id="rId4" Type="http://schemas.openxmlformats.org/officeDocument/2006/relationships/tags" Target="../tags/tag265.xml"/><Relationship Id="rId9" Type="http://schemas.openxmlformats.org/officeDocument/2006/relationships/tags" Target="../tags/tag270.xml"/><Relationship Id="rId14" Type="http://schemas.openxmlformats.org/officeDocument/2006/relationships/tags" Target="../tags/tag275.xml"/><Relationship Id="rId22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783370" y="2797966"/>
            <a:ext cx="5783323" cy="1280890"/>
          </a:xfrm>
        </p:spPr>
        <p:txBody>
          <a:bodyPr>
            <a:normAutofit fontScale="90000"/>
          </a:bodyPr>
          <a:lstStyle/>
          <a:p>
            <a:r>
              <a:rPr lang="es-EC" sz="7300" dirty="0">
                <a:solidFill>
                  <a:schemeClr val="accent1"/>
                </a:solidFill>
              </a:rPr>
              <a:t>B</a:t>
            </a:r>
            <a:r>
              <a:rPr lang="es-EC" sz="7300" dirty="0" smtClean="0">
                <a:solidFill>
                  <a:schemeClr val="accent1"/>
                </a:solidFill>
              </a:rPr>
              <a:t>ienvenidos</a:t>
            </a:r>
            <a:r>
              <a:rPr lang="es-EC" sz="5400" dirty="0">
                <a:solidFill>
                  <a:schemeClr val="accent1"/>
                </a:solidFill>
              </a:rPr>
              <a:t/>
            </a:r>
            <a:br>
              <a:rPr lang="es-EC" sz="5400" dirty="0">
                <a:solidFill>
                  <a:schemeClr val="accent1"/>
                </a:solidFill>
              </a:rPr>
            </a:br>
            <a:endParaRPr lang="es-EC" sz="5400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8594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102400" y="345011"/>
            <a:ext cx="8911687" cy="8078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C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evo Modelo operativo</a:t>
            </a:r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2124851" y="1040254"/>
            <a:ext cx="7783552" cy="550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CO" sz="2000" b="1" dirty="0" smtClean="0">
                <a:solidFill>
                  <a:schemeClr val="accent1"/>
                </a:solidFill>
              </a:rPr>
              <a:t>Estructura de la Gestión del Servicio</a:t>
            </a:r>
            <a:endParaRPr lang="es-CO" sz="2000" b="1" dirty="0">
              <a:solidFill>
                <a:schemeClr val="accent1"/>
              </a:solidFill>
            </a:endParaRPr>
          </a:p>
        </p:txBody>
      </p:sp>
      <p:sp>
        <p:nvSpPr>
          <p:cNvPr id="7" name="Rounded Rectangle 10"/>
          <p:cNvSpPr/>
          <p:nvPr/>
        </p:nvSpPr>
        <p:spPr bwMode="auto">
          <a:xfrm>
            <a:off x="4202544" y="2056474"/>
            <a:ext cx="1061875" cy="468000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Primera línea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de atención</a:t>
            </a:r>
          </a:p>
        </p:txBody>
      </p:sp>
      <p:sp>
        <p:nvSpPr>
          <p:cNvPr id="8" name="Rounded Rectangle 11"/>
          <p:cNvSpPr/>
          <p:nvPr/>
        </p:nvSpPr>
        <p:spPr bwMode="auto">
          <a:xfrm>
            <a:off x="5928141" y="2056475"/>
            <a:ext cx="2433484" cy="468000"/>
          </a:xfrm>
          <a:prstGeom prst="roundRect">
            <a:avLst/>
          </a:prstGeom>
          <a:solidFill>
            <a:srgbClr val="FF99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Segunda línea de atención</a:t>
            </a:r>
          </a:p>
        </p:txBody>
      </p:sp>
      <p:sp>
        <p:nvSpPr>
          <p:cNvPr id="9" name="Rounded Rectangle 12"/>
          <p:cNvSpPr/>
          <p:nvPr/>
        </p:nvSpPr>
        <p:spPr bwMode="auto">
          <a:xfrm>
            <a:off x="8789332" y="2056474"/>
            <a:ext cx="1873045" cy="468000"/>
          </a:xfrm>
          <a:prstGeom prst="roundRect">
            <a:avLst/>
          </a:prstGeom>
          <a:solidFill>
            <a:schemeClr val="bg1">
              <a:lumMod val="6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lang="es-CO" sz="1200" b="0" dirty="0" smtClean="0">
                <a:solidFill>
                  <a:schemeClr val="bg1"/>
                </a:solidFill>
                <a:latin typeface="Arial" charset="0"/>
              </a:rPr>
              <a:t>G</a:t>
            </a:r>
            <a:r>
              <a:rPr kumimoji="0" lang="es-CO" sz="1200" b="0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estión de Problemas</a:t>
            </a:r>
          </a:p>
        </p:txBody>
      </p:sp>
      <p:sp>
        <p:nvSpPr>
          <p:cNvPr id="10" name="TextBox 59"/>
          <p:cNvSpPr txBox="1"/>
          <p:nvPr/>
        </p:nvSpPr>
        <p:spPr>
          <a:xfrm>
            <a:off x="4055080" y="2943838"/>
            <a:ext cx="12536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100" dirty="0" smtClean="0"/>
              <a:t>Analistas </a:t>
            </a:r>
          </a:p>
          <a:p>
            <a:pPr algn="ctr"/>
            <a:r>
              <a:rPr lang="es-CO" sz="1100" dirty="0" smtClean="0"/>
              <a:t>de primera línea</a:t>
            </a:r>
            <a:endParaRPr lang="es-CO" sz="1100" dirty="0"/>
          </a:p>
        </p:txBody>
      </p:sp>
      <p:sp>
        <p:nvSpPr>
          <p:cNvPr id="11" name="TextBox 60"/>
          <p:cNvSpPr txBox="1"/>
          <p:nvPr/>
        </p:nvSpPr>
        <p:spPr>
          <a:xfrm>
            <a:off x="5819908" y="2830770"/>
            <a:ext cx="129475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100" dirty="0" smtClean="0"/>
              <a:t>Analistas de </a:t>
            </a:r>
          </a:p>
          <a:p>
            <a:pPr algn="ctr"/>
            <a:r>
              <a:rPr lang="es-CO" sz="1100" dirty="0" smtClean="0"/>
              <a:t>segunda línea </a:t>
            </a:r>
          </a:p>
          <a:p>
            <a:pPr algn="ctr"/>
            <a:r>
              <a:rPr lang="es-CO" sz="1100" dirty="0" smtClean="0"/>
              <a:t>Funcionales</a:t>
            </a:r>
            <a:endParaRPr lang="es-CO" sz="1100" dirty="0"/>
          </a:p>
        </p:txBody>
      </p:sp>
      <p:sp>
        <p:nvSpPr>
          <p:cNvPr id="12" name="TextBox 61"/>
          <p:cNvSpPr txBox="1"/>
          <p:nvPr/>
        </p:nvSpPr>
        <p:spPr>
          <a:xfrm>
            <a:off x="6016627" y="4495053"/>
            <a:ext cx="131261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100" dirty="0" smtClean="0"/>
              <a:t>Técnicos de </a:t>
            </a:r>
          </a:p>
          <a:p>
            <a:pPr algn="ctr"/>
            <a:r>
              <a:rPr lang="es-CO" sz="1100" dirty="0" smtClean="0"/>
              <a:t>soporte en sitio PCS</a:t>
            </a:r>
          </a:p>
        </p:txBody>
      </p:sp>
      <p:sp>
        <p:nvSpPr>
          <p:cNvPr id="13" name="TextBox 62"/>
          <p:cNvSpPr txBox="1"/>
          <p:nvPr/>
        </p:nvSpPr>
        <p:spPr>
          <a:xfrm>
            <a:off x="7283719" y="4520347"/>
            <a:ext cx="114044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100" dirty="0" smtClean="0"/>
              <a:t>Analista de </a:t>
            </a:r>
          </a:p>
          <a:p>
            <a:pPr algn="ctr"/>
            <a:r>
              <a:rPr lang="es-CO" sz="1100" dirty="0" smtClean="0"/>
              <a:t>conocimiento</a:t>
            </a:r>
            <a:endParaRPr lang="es-CO" sz="1100" dirty="0"/>
          </a:p>
        </p:txBody>
      </p:sp>
      <p:sp>
        <p:nvSpPr>
          <p:cNvPr id="14" name="TextBox 63"/>
          <p:cNvSpPr txBox="1"/>
          <p:nvPr/>
        </p:nvSpPr>
        <p:spPr>
          <a:xfrm>
            <a:off x="9553570" y="2716152"/>
            <a:ext cx="130057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100" dirty="0" smtClean="0"/>
              <a:t>Diseño y Entrega del Servicio</a:t>
            </a:r>
            <a:endParaRPr lang="es-CO" sz="1100" dirty="0"/>
          </a:p>
        </p:txBody>
      </p:sp>
      <p:sp>
        <p:nvSpPr>
          <p:cNvPr id="15" name="TextBox 64"/>
          <p:cNvSpPr txBox="1"/>
          <p:nvPr/>
        </p:nvSpPr>
        <p:spPr>
          <a:xfrm>
            <a:off x="9568277" y="3553062"/>
            <a:ext cx="130057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100" dirty="0" smtClean="0"/>
              <a:t>Operación </a:t>
            </a:r>
          </a:p>
          <a:p>
            <a:r>
              <a:rPr lang="es-CO" sz="1100" dirty="0" smtClean="0"/>
              <a:t>del Servicio</a:t>
            </a:r>
            <a:endParaRPr lang="es-CO" sz="1100" dirty="0"/>
          </a:p>
        </p:txBody>
      </p:sp>
      <p:sp>
        <p:nvSpPr>
          <p:cNvPr id="16" name="TextBox 65"/>
          <p:cNvSpPr txBox="1"/>
          <p:nvPr/>
        </p:nvSpPr>
        <p:spPr>
          <a:xfrm>
            <a:off x="9568318" y="4215570"/>
            <a:ext cx="130057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100" dirty="0" smtClean="0"/>
              <a:t>Estrategia y Planeación </a:t>
            </a:r>
          </a:p>
          <a:p>
            <a:r>
              <a:rPr lang="es-CO" sz="1100" dirty="0" smtClean="0"/>
              <a:t>del Servicio</a:t>
            </a:r>
            <a:endParaRPr lang="es-CO" sz="1100" dirty="0"/>
          </a:p>
        </p:txBody>
      </p:sp>
      <p:sp>
        <p:nvSpPr>
          <p:cNvPr id="17" name="TextBox 66"/>
          <p:cNvSpPr txBox="1"/>
          <p:nvPr/>
        </p:nvSpPr>
        <p:spPr>
          <a:xfrm>
            <a:off x="9576061" y="4993455"/>
            <a:ext cx="105960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100" dirty="0" smtClean="0"/>
              <a:t>Otras áreas Empresa</a:t>
            </a:r>
            <a:endParaRPr lang="es-CO" sz="1100" dirty="0"/>
          </a:p>
        </p:txBody>
      </p:sp>
      <p:sp>
        <p:nvSpPr>
          <p:cNvPr id="18" name="Right Arrow 67"/>
          <p:cNvSpPr/>
          <p:nvPr/>
        </p:nvSpPr>
        <p:spPr bwMode="auto">
          <a:xfrm>
            <a:off x="2541174" y="6300448"/>
            <a:ext cx="8155859" cy="515149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Gestión del Servicio</a:t>
            </a:r>
          </a:p>
        </p:txBody>
      </p:sp>
      <p:sp>
        <p:nvSpPr>
          <p:cNvPr id="19" name="Right Arrow 69"/>
          <p:cNvSpPr/>
          <p:nvPr/>
        </p:nvSpPr>
        <p:spPr bwMode="auto">
          <a:xfrm>
            <a:off x="8757259" y="3537462"/>
            <a:ext cx="162232" cy="1091381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Right Arrow 70"/>
          <p:cNvSpPr/>
          <p:nvPr/>
        </p:nvSpPr>
        <p:spPr bwMode="auto">
          <a:xfrm flipH="1">
            <a:off x="8505358" y="3537462"/>
            <a:ext cx="157316" cy="1091381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32480" y="2654904"/>
            <a:ext cx="425764" cy="565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32480" y="4927002"/>
            <a:ext cx="425764" cy="565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32480" y="3412270"/>
            <a:ext cx="425764" cy="565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32480" y="4169636"/>
            <a:ext cx="425764" cy="565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12992" y="5123630"/>
            <a:ext cx="516181" cy="537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757217" y="4728430"/>
            <a:ext cx="442450" cy="44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308187" y="3514099"/>
            <a:ext cx="500114" cy="679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Picture 9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51146" y="3519017"/>
            <a:ext cx="500114" cy="679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1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734035" y="3209314"/>
            <a:ext cx="501467" cy="478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1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818839" y="3941746"/>
            <a:ext cx="336601" cy="545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Rounded Rectangle 80"/>
          <p:cNvSpPr/>
          <p:nvPr/>
        </p:nvSpPr>
        <p:spPr bwMode="auto">
          <a:xfrm>
            <a:off x="2599907" y="2061390"/>
            <a:ext cx="821009" cy="468000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lang="es-CO" sz="1200" b="0" dirty="0" smtClean="0">
                <a:solidFill>
                  <a:schemeClr val="bg1"/>
                </a:solidFill>
                <a:latin typeface="Arial" charset="0"/>
              </a:rPr>
              <a:t>Usuarios y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lang="es-CO" sz="1200" b="0" dirty="0" smtClean="0">
                <a:solidFill>
                  <a:schemeClr val="bg1"/>
                </a:solidFill>
                <a:latin typeface="Arial" charset="0"/>
              </a:rPr>
              <a:t>clientes</a:t>
            </a:r>
            <a:endParaRPr kumimoji="0" lang="es-CO" sz="12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2" name="Picture 1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134597" y="5087637"/>
            <a:ext cx="449057" cy="517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Picture 1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685209" y="5107301"/>
            <a:ext cx="449057" cy="517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1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478727" y="5579254"/>
            <a:ext cx="449057" cy="517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15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335301" y="4306061"/>
            <a:ext cx="707922" cy="79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" name="Picture 16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040334" y="3476004"/>
            <a:ext cx="530942" cy="632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16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590940" y="3525166"/>
            <a:ext cx="530942" cy="632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Picture 16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595860" y="5181901"/>
            <a:ext cx="530942" cy="632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Picture 16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055087" y="5127827"/>
            <a:ext cx="530942" cy="632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" name="Right Arrow 92"/>
          <p:cNvSpPr/>
          <p:nvPr/>
        </p:nvSpPr>
        <p:spPr bwMode="auto">
          <a:xfrm>
            <a:off x="3751597" y="3537462"/>
            <a:ext cx="162232" cy="1091381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Right Arrow 93"/>
          <p:cNvSpPr/>
          <p:nvPr/>
        </p:nvSpPr>
        <p:spPr bwMode="auto">
          <a:xfrm flipH="1">
            <a:off x="3461059" y="3537462"/>
            <a:ext cx="157316" cy="1091381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Right Arrow 94"/>
          <p:cNvSpPr/>
          <p:nvPr/>
        </p:nvSpPr>
        <p:spPr bwMode="auto">
          <a:xfrm>
            <a:off x="5589007" y="3537462"/>
            <a:ext cx="162232" cy="1091381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Right Arrow 95"/>
          <p:cNvSpPr/>
          <p:nvPr/>
        </p:nvSpPr>
        <p:spPr bwMode="auto">
          <a:xfrm flipH="1">
            <a:off x="5362864" y="3537462"/>
            <a:ext cx="157316" cy="1091381"/>
          </a:xfrm>
          <a:prstGeom prst="rightArrow">
            <a:avLst>
              <a:gd name="adj1" fmla="val 50000"/>
              <a:gd name="adj2" fmla="val 10000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Rounded Rectangle 40"/>
          <p:cNvSpPr/>
          <p:nvPr/>
        </p:nvSpPr>
        <p:spPr bwMode="auto">
          <a:xfrm>
            <a:off x="3688878" y="1599653"/>
            <a:ext cx="5022761" cy="4700789"/>
          </a:xfrm>
          <a:prstGeom prst="roundRect">
            <a:avLst>
              <a:gd name="adj" fmla="val 4074"/>
            </a:avLst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ervice Desk</a:t>
            </a:r>
          </a:p>
        </p:txBody>
      </p:sp>
      <p:sp>
        <p:nvSpPr>
          <p:cNvPr id="45" name="TextBox 41"/>
          <p:cNvSpPr txBox="1"/>
          <p:nvPr/>
        </p:nvSpPr>
        <p:spPr>
          <a:xfrm>
            <a:off x="7157176" y="2828622"/>
            <a:ext cx="129475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100" dirty="0" smtClean="0"/>
              <a:t>Analistas de </a:t>
            </a:r>
          </a:p>
          <a:p>
            <a:pPr algn="ctr"/>
            <a:r>
              <a:rPr lang="es-CO" sz="1100" dirty="0" smtClean="0"/>
              <a:t>segunda línea </a:t>
            </a:r>
          </a:p>
          <a:p>
            <a:pPr algn="ctr"/>
            <a:r>
              <a:rPr lang="es-CO" sz="1100" dirty="0" smtClean="0"/>
              <a:t>HW y SW</a:t>
            </a:r>
            <a:endParaRPr lang="es-CO" sz="1100" dirty="0"/>
          </a:p>
        </p:txBody>
      </p:sp>
      <p:sp>
        <p:nvSpPr>
          <p:cNvPr id="46" name="TextBox 42"/>
          <p:cNvSpPr txBox="1"/>
          <p:nvPr/>
        </p:nvSpPr>
        <p:spPr>
          <a:xfrm>
            <a:off x="9529170" y="5755451"/>
            <a:ext cx="105960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100" dirty="0" smtClean="0"/>
              <a:t>Proveedores Externos</a:t>
            </a:r>
            <a:endParaRPr lang="es-CO" sz="1100" dirty="0"/>
          </a:p>
        </p:txBody>
      </p:sp>
      <p:pic>
        <p:nvPicPr>
          <p:cNvPr id="4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32480" y="5684369"/>
            <a:ext cx="425764" cy="565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57881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8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7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0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3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6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9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2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5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8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1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4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7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0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3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6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9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2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5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8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1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4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7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0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3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6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9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2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5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8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1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5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  <p:bldP spid="7" grpId="0" animBg="1"/>
      <p:bldP spid="8" grpId="0" animBg="1"/>
      <p:bldP spid="9" grpId="0" animBg="1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 animBg="1"/>
      <p:bldP spid="19" grpId="0" animBg="1"/>
      <p:bldP spid="20" grpId="0" animBg="1"/>
      <p:bldP spid="31" grpId="0" animBg="1"/>
      <p:bldP spid="40" grpId="0" animBg="1"/>
      <p:bldP spid="41" grpId="0" animBg="1"/>
      <p:bldP spid="42" grpId="0" animBg="1"/>
      <p:bldP spid="43" grpId="0" animBg="1"/>
      <p:bldP spid="44" grpId="0" animBg="1"/>
      <p:bldP spid="45" grpId="0"/>
      <p:bldP spid="4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080475" y="259831"/>
            <a:ext cx="8911687" cy="8078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C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evo Modelo operativo</a:t>
            </a:r>
          </a:p>
        </p:txBody>
      </p:sp>
      <p:sp>
        <p:nvSpPr>
          <p:cNvPr id="6" name="Title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80475" y="860453"/>
            <a:ext cx="7783552" cy="550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CO" sz="2000" b="1" dirty="0" smtClean="0">
                <a:solidFill>
                  <a:schemeClr val="accent1"/>
                </a:solidFill>
              </a:rPr>
              <a:t>Gestión </a:t>
            </a:r>
            <a:r>
              <a:rPr lang="es-CO" sz="2100" b="1" dirty="0">
                <a:solidFill>
                  <a:schemeClr val="accent1"/>
                </a:solidFill>
              </a:rPr>
              <a:t>de la Disponibilidad y Gestión de Eventos</a:t>
            </a:r>
          </a:p>
        </p:txBody>
      </p:sp>
      <p:sp>
        <p:nvSpPr>
          <p:cNvPr id="7" name="Rounded Rectangle 40"/>
          <p:cNvSpPr/>
          <p:nvPr/>
        </p:nvSpPr>
        <p:spPr bwMode="auto">
          <a:xfrm>
            <a:off x="5164983" y="1429985"/>
            <a:ext cx="2305304" cy="4912395"/>
          </a:xfrm>
          <a:prstGeom prst="roundRect">
            <a:avLst>
              <a:gd name="adj" fmla="val 6262"/>
            </a:avLst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Centro de Cómputo</a:t>
            </a:r>
          </a:p>
        </p:txBody>
      </p:sp>
      <p:pic>
        <p:nvPicPr>
          <p:cNvPr id="8" name="Picture 4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3104358" y="1936825"/>
            <a:ext cx="1118679" cy="842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5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133414" y="2808561"/>
            <a:ext cx="1060566" cy="11041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3225460" y="3977783"/>
            <a:ext cx="876474" cy="1406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9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3350144" y="5471598"/>
            <a:ext cx="627107" cy="642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2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6150812" y="4802789"/>
            <a:ext cx="370120" cy="708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83"/>
          <p:cNvSpPr txBox="1"/>
          <p:nvPr/>
        </p:nvSpPr>
        <p:spPr>
          <a:xfrm>
            <a:off x="2114819" y="2225254"/>
            <a:ext cx="91439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50" dirty="0" smtClean="0">
                <a:latin typeface="+mj-lt"/>
              </a:rPr>
              <a:t>AS400</a:t>
            </a:r>
            <a:endParaRPr lang="es-CO" sz="1050" dirty="0">
              <a:latin typeface="+mj-lt"/>
            </a:endParaRPr>
          </a:p>
        </p:txBody>
      </p:sp>
      <p:sp>
        <p:nvSpPr>
          <p:cNvPr id="14" name="TextBox 86"/>
          <p:cNvSpPr txBox="1"/>
          <p:nvPr/>
        </p:nvSpPr>
        <p:spPr>
          <a:xfrm>
            <a:off x="2114819" y="3279175"/>
            <a:ext cx="91439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50" dirty="0" smtClean="0">
                <a:latin typeface="+mj-lt"/>
              </a:rPr>
              <a:t>Servidores</a:t>
            </a:r>
            <a:endParaRPr lang="es-CO" sz="1050" dirty="0">
              <a:latin typeface="+mj-lt"/>
            </a:endParaRPr>
          </a:p>
        </p:txBody>
      </p:sp>
      <p:sp>
        <p:nvSpPr>
          <p:cNvPr id="15" name="TextBox 87"/>
          <p:cNvSpPr txBox="1"/>
          <p:nvPr/>
        </p:nvSpPr>
        <p:spPr>
          <a:xfrm>
            <a:off x="2066523" y="4242944"/>
            <a:ext cx="101099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50" dirty="0" smtClean="0">
                <a:latin typeface="+mj-lt"/>
              </a:rPr>
              <a:t>Equipos de comunicación</a:t>
            </a:r>
            <a:endParaRPr lang="es-CO" sz="1050" dirty="0">
              <a:latin typeface="+mj-lt"/>
            </a:endParaRPr>
          </a:p>
        </p:txBody>
      </p:sp>
      <p:sp>
        <p:nvSpPr>
          <p:cNvPr id="16" name="TextBox 88"/>
          <p:cNvSpPr txBox="1"/>
          <p:nvPr/>
        </p:nvSpPr>
        <p:spPr>
          <a:xfrm>
            <a:off x="2114819" y="5002797"/>
            <a:ext cx="91439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50" dirty="0" smtClean="0">
                <a:latin typeface="+mj-lt"/>
              </a:rPr>
              <a:t>Telefonía</a:t>
            </a:r>
            <a:endParaRPr lang="es-CO" sz="1050" dirty="0">
              <a:latin typeface="+mj-lt"/>
            </a:endParaRPr>
          </a:p>
        </p:txBody>
      </p:sp>
      <p:sp>
        <p:nvSpPr>
          <p:cNvPr id="17" name="TextBox 96"/>
          <p:cNvSpPr txBox="1"/>
          <p:nvPr/>
        </p:nvSpPr>
        <p:spPr>
          <a:xfrm>
            <a:off x="2080475" y="5721867"/>
            <a:ext cx="98308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50" dirty="0" smtClean="0">
                <a:latin typeface="+mj-lt"/>
              </a:rPr>
              <a:t>Transacciones</a:t>
            </a:r>
            <a:endParaRPr lang="es-CO" sz="1050" dirty="0">
              <a:latin typeface="+mj-lt"/>
            </a:endParaRPr>
          </a:p>
        </p:txBody>
      </p:sp>
      <p:cxnSp>
        <p:nvCxnSpPr>
          <p:cNvPr id="18" name="Straight Arrow Connector 98"/>
          <p:cNvCxnSpPr/>
          <p:nvPr/>
        </p:nvCxnSpPr>
        <p:spPr bwMode="auto">
          <a:xfrm flipV="1">
            <a:off x="4411930" y="2383021"/>
            <a:ext cx="684000" cy="882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9" name="Straight Arrow Connector 99"/>
          <p:cNvCxnSpPr/>
          <p:nvPr/>
        </p:nvCxnSpPr>
        <p:spPr bwMode="auto">
          <a:xfrm flipV="1">
            <a:off x="4411930" y="4467253"/>
            <a:ext cx="684000" cy="882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0" name="Straight Arrow Connector 100"/>
          <p:cNvCxnSpPr/>
          <p:nvPr/>
        </p:nvCxnSpPr>
        <p:spPr bwMode="auto">
          <a:xfrm flipV="1">
            <a:off x="4411930" y="5714357"/>
            <a:ext cx="684000" cy="882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1" name="Straight Arrow Connector 101"/>
          <p:cNvCxnSpPr/>
          <p:nvPr/>
        </p:nvCxnSpPr>
        <p:spPr bwMode="auto">
          <a:xfrm flipV="1">
            <a:off x="4411930" y="5106903"/>
            <a:ext cx="684000" cy="882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2" name="Straight Arrow Connector 102"/>
          <p:cNvCxnSpPr/>
          <p:nvPr/>
        </p:nvCxnSpPr>
        <p:spPr bwMode="auto">
          <a:xfrm flipV="1">
            <a:off x="4411930" y="3353230"/>
            <a:ext cx="684000" cy="882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3" name="TextBox 104"/>
          <p:cNvSpPr txBox="1"/>
          <p:nvPr/>
        </p:nvSpPr>
        <p:spPr>
          <a:xfrm>
            <a:off x="5357078" y="5567331"/>
            <a:ext cx="195758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50" dirty="0" smtClean="0">
                <a:latin typeface="+mj-lt"/>
              </a:rPr>
              <a:t>Técnico exclusivo de monitoreo Soporte de primera línea</a:t>
            </a:r>
            <a:endParaRPr lang="es-CO" sz="1050" dirty="0">
              <a:latin typeface="+mj-lt"/>
            </a:endParaRPr>
          </a:p>
        </p:txBody>
      </p:sp>
      <p:cxnSp>
        <p:nvCxnSpPr>
          <p:cNvPr id="24" name="Straight Arrow Connector 107"/>
          <p:cNvCxnSpPr/>
          <p:nvPr/>
        </p:nvCxnSpPr>
        <p:spPr bwMode="auto">
          <a:xfrm>
            <a:off x="6335872" y="4546672"/>
            <a:ext cx="0" cy="25200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5" name="Straight Arrow Connector 108"/>
          <p:cNvCxnSpPr/>
          <p:nvPr/>
        </p:nvCxnSpPr>
        <p:spPr bwMode="auto">
          <a:xfrm>
            <a:off x="6335872" y="3694510"/>
            <a:ext cx="0" cy="25200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26" name="Group 111"/>
          <p:cNvGrpSpPr/>
          <p:nvPr/>
        </p:nvGrpSpPr>
        <p:grpSpPr>
          <a:xfrm>
            <a:off x="5389283" y="1906504"/>
            <a:ext cx="1944694" cy="1648496"/>
            <a:chOff x="3140313" y="1403797"/>
            <a:chExt cx="1944694" cy="1648496"/>
          </a:xfrm>
          <a:noFill/>
        </p:grpSpPr>
        <p:grpSp>
          <p:nvGrpSpPr>
            <p:cNvPr id="27" name="Group 103"/>
            <p:cNvGrpSpPr/>
            <p:nvPr/>
          </p:nvGrpSpPr>
          <p:grpSpPr>
            <a:xfrm>
              <a:off x="3206839" y="2186792"/>
              <a:ext cx="1878168" cy="847886"/>
              <a:chOff x="3309871" y="2276945"/>
              <a:chExt cx="1878168" cy="847886"/>
            </a:xfrm>
            <a:grpFill/>
          </p:grpSpPr>
          <p:pic>
            <p:nvPicPr>
              <p:cNvPr id="32" name="Picture 11"/>
              <p:cNvPicPr>
                <a:picLocks noChangeAspect="1" noChangeArrowheads="1"/>
              </p:cNvPicPr>
              <p:nvPr>
                <p:custDataLst>
                  <p:tags r:id="rId20"/>
                </p:custDataLst>
              </p:nvPr>
            </p:nvPicPr>
            <p:blipFill>
              <a:blip r:embed="rId31" cstate="print"/>
              <a:srcRect/>
              <a:stretch>
                <a:fillRect/>
              </a:stretch>
            </p:blipFill>
            <p:spPr bwMode="auto">
              <a:xfrm>
                <a:off x="3542960" y="2276945"/>
                <a:ext cx="448220" cy="58753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" name="Picture 11"/>
              <p:cNvPicPr>
                <a:picLocks noChangeAspect="1" noChangeArrowheads="1"/>
              </p:cNvPicPr>
              <p:nvPr>
                <p:custDataLst>
                  <p:tags r:id="rId21"/>
                </p:custDataLst>
              </p:nvPr>
            </p:nvPicPr>
            <p:blipFill>
              <a:blip r:embed="rId31" cstate="print"/>
              <a:srcRect/>
              <a:stretch>
                <a:fillRect/>
              </a:stretch>
            </p:blipFill>
            <p:spPr bwMode="auto">
              <a:xfrm>
                <a:off x="4506729" y="2276945"/>
                <a:ext cx="448220" cy="58753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4" name="TextBox 52"/>
              <p:cNvSpPr txBox="1"/>
              <p:nvPr>
                <p:custDataLst>
                  <p:tags r:id="rId22"/>
                </p:custDataLst>
              </p:nvPr>
            </p:nvSpPr>
            <p:spPr>
              <a:xfrm>
                <a:off x="3309871" y="2870915"/>
                <a:ext cx="914399" cy="253916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CO" sz="1050" dirty="0" smtClean="0">
                    <a:latin typeface="+mj-lt"/>
                  </a:rPr>
                  <a:t>Barcelona 04</a:t>
                </a:r>
                <a:endParaRPr lang="es-CO" sz="1050" dirty="0">
                  <a:latin typeface="+mj-lt"/>
                </a:endParaRPr>
              </a:p>
            </p:txBody>
          </p:sp>
          <p:sp>
            <p:nvSpPr>
              <p:cNvPr id="35" name="TextBox 53"/>
              <p:cNvSpPr txBox="1"/>
              <p:nvPr>
                <p:custDataLst>
                  <p:tags r:id="rId23"/>
                </p:custDataLst>
              </p:nvPr>
            </p:nvSpPr>
            <p:spPr>
              <a:xfrm>
                <a:off x="4273640" y="2870915"/>
                <a:ext cx="914399" cy="253916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CO" sz="1050" dirty="0" smtClean="0">
                    <a:latin typeface="+mj-lt"/>
                  </a:rPr>
                  <a:t>SCOM</a:t>
                </a:r>
                <a:endParaRPr lang="es-CO" sz="1050" dirty="0">
                  <a:latin typeface="+mj-lt"/>
                </a:endParaRPr>
              </a:p>
            </p:txBody>
          </p:sp>
          <p:cxnSp>
            <p:nvCxnSpPr>
              <p:cNvPr id="36" name="Straight Arrow Connector 55"/>
              <p:cNvCxnSpPr/>
              <p:nvPr>
                <p:custDataLst>
                  <p:tags r:id="rId24"/>
                </p:custDataLst>
              </p:nvPr>
            </p:nvCxnSpPr>
            <p:spPr bwMode="auto">
              <a:xfrm flipH="1">
                <a:off x="3991180" y="2583589"/>
                <a:ext cx="432000" cy="1"/>
              </a:xfrm>
              <a:prstGeom prst="straightConnector1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ysDash"/>
                <a:round/>
                <a:headEnd type="none" w="med" len="med"/>
                <a:tailEnd type="arrow"/>
              </a:ln>
              <a:effectLst/>
            </p:spPr>
          </p:cxnSp>
        </p:grpSp>
        <p:grpSp>
          <p:nvGrpSpPr>
            <p:cNvPr id="28" name="Group 110"/>
            <p:cNvGrpSpPr/>
            <p:nvPr/>
          </p:nvGrpSpPr>
          <p:grpSpPr>
            <a:xfrm>
              <a:off x="3839671" y="1918957"/>
              <a:ext cx="554404" cy="489392"/>
              <a:chOff x="3826792" y="1944715"/>
              <a:chExt cx="554404" cy="489392"/>
            </a:xfrm>
            <a:grpFill/>
          </p:grpSpPr>
          <p:sp>
            <p:nvSpPr>
              <p:cNvPr id="30" name="Arc 79"/>
              <p:cNvSpPr/>
              <p:nvPr>
                <p:custDataLst>
                  <p:tags r:id="rId18"/>
                </p:custDataLst>
              </p:nvPr>
            </p:nvSpPr>
            <p:spPr bwMode="auto">
              <a:xfrm>
                <a:off x="3837907" y="1944715"/>
                <a:ext cx="489395" cy="489392"/>
              </a:xfrm>
              <a:prstGeom prst="arc">
                <a:avLst>
                  <a:gd name="adj1" fmla="val 16200000"/>
                  <a:gd name="adj2" fmla="val 13637434"/>
                </a:avLst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oval" w="med" len="med"/>
                <a:tailEnd type="triangle" w="med" len="med"/>
              </a:ln>
              <a:effectLst/>
            </p:spPr>
            <p:txBody>
              <a:bodyPr vert="horz" wrap="non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endParaRPr kumimoji="0" lang="es-CO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endParaRPr>
              </a:p>
            </p:txBody>
          </p:sp>
          <p:sp>
            <p:nvSpPr>
              <p:cNvPr id="31" name="TextBox 68"/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3826792" y="2108230"/>
                <a:ext cx="554404" cy="215444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s-CO" sz="800" dirty="0" smtClean="0">
                    <a:solidFill>
                      <a:srgbClr val="FF0000"/>
                    </a:solidFill>
                    <a:latin typeface="+mj-lt"/>
                  </a:rPr>
                  <a:t>24 X 7</a:t>
                </a:r>
                <a:endParaRPr lang="es-CO" sz="800" dirty="0">
                  <a:solidFill>
                    <a:srgbClr val="FF0000"/>
                  </a:solidFill>
                  <a:latin typeface="+mj-lt"/>
                </a:endParaRPr>
              </a:p>
            </p:txBody>
          </p:sp>
        </p:grpSp>
        <p:sp>
          <p:nvSpPr>
            <p:cNvPr id="29" name="Rounded Rectangle 109"/>
            <p:cNvSpPr/>
            <p:nvPr>
              <p:custDataLst>
                <p:tags r:id="rId17"/>
              </p:custDataLst>
            </p:nvPr>
          </p:nvSpPr>
          <p:spPr bwMode="auto">
            <a:xfrm>
              <a:off x="3140313" y="1403797"/>
              <a:ext cx="1869569" cy="1648496"/>
            </a:xfrm>
            <a:prstGeom prst="roundRect">
              <a:avLst>
                <a:gd name="adj" fmla="val 6262"/>
              </a:avLst>
            </a:prstGeom>
            <a:grpFill/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11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Consola</a:t>
              </a:r>
              <a:r>
                <a:rPr kumimoji="0" lang="es-CO" sz="1100" b="1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 principal de 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1100" b="1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monitoreo</a:t>
              </a:r>
              <a:endParaRPr kumimoji="0" lang="es-CO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</p:grpSp>
      <p:sp>
        <p:nvSpPr>
          <p:cNvPr id="37" name="Rounded Rectangle 112"/>
          <p:cNvSpPr/>
          <p:nvPr>
            <p:custDataLst>
              <p:tags r:id="rId7"/>
            </p:custDataLst>
          </p:nvPr>
        </p:nvSpPr>
        <p:spPr bwMode="auto">
          <a:xfrm>
            <a:off x="8292400" y="1427840"/>
            <a:ext cx="2305304" cy="3492000"/>
          </a:xfrm>
          <a:prstGeom prst="roundRect">
            <a:avLst>
              <a:gd name="adj" fmla="val 6262"/>
            </a:avLst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Service Desk</a:t>
            </a:r>
          </a:p>
        </p:txBody>
      </p:sp>
      <p:sp>
        <p:nvSpPr>
          <p:cNvPr id="38" name="TextBox 113"/>
          <p:cNvSpPr txBox="1"/>
          <p:nvPr/>
        </p:nvSpPr>
        <p:spPr>
          <a:xfrm>
            <a:off x="8506611" y="4285991"/>
            <a:ext cx="1961535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50" dirty="0" smtClean="0">
                <a:latin typeface="+mj-lt"/>
              </a:rPr>
              <a:t>Analistas técnicos </a:t>
            </a:r>
          </a:p>
          <a:p>
            <a:pPr algn="ctr"/>
            <a:r>
              <a:rPr lang="es-CO" sz="1050" dirty="0" smtClean="0">
                <a:latin typeface="+mj-lt"/>
              </a:rPr>
              <a:t>Soporte de segunda línea</a:t>
            </a:r>
          </a:p>
          <a:p>
            <a:pPr algn="ctr"/>
            <a:r>
              <a:rPr lang="es-CO" sz="1050" dirty="0" smtClean="0">
                <a:solidFill>
                  <a:srgbClr val="FF0000"/>
                </a:solidFill>
                <a:latin typeface="+mj-lt"/>
              </a:rPr>
              <a:t>Gestores de eventos</a:t>
            </a:r>
          </a:p>
        </p:txBody>
      </p:sp>
      <p:pic>
        <p:nvPicPr>
          <p:cNvPr id="39" name="Picture 9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8827464" y="3602734"/>
            <a:ext cx="500114" cy="679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9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9658295" y="3607652"/>
            <a:ext cx="500114" cy="679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1" name="Group 116"/>
          <p:cNvGrpSpPr/>
          <p:nvPr/>
        </p:nvGrpSpPr>
        <p:grpSpPr>
          <a:xfrm>
            <a:off x="8511342" y="1906504"/>
            <a:ext cx="1944694" cy="1648496"/>
            <a:chOff x="3140313" y="1403797"/>
            <a:chExt cx="1944694" cy="1648496"/>
          </a:xfrm>
          <a:noFill/>
        </p:grpSpPr>
        <p:grpSp>
          <p:nvGrpSpPr>
            <p:cNvPr id="42" name="Group 103"/>
            <p:cNvGrpSpPr/>
            <p:nvPr/>
          </p:nvGrpSpPr>
          <p:grpSpPr>
            <a:xfrm>
              <a:off x="3206839" y="2186792"/>
              <a:ext cx="1878168" cy="847886"/>
              <a:chOff x="3309871" y="2276945"/>
              <a:chExt cx="1878168" cy="847886"/>
            </a:xfrm>
            <a:grpFill/>
          </p:grpSpPr>
          <p:pic>
            <p:nvPicPr>
              <p:cNvPr id="47" name="Picture 11"/>
              <p:cNvPicPr>
                <a:picLocks noChangeAspect="1" noChangeArrowheads="1"/>
              </p:cNvPicPr>
              <p:nvPr>
                <p:custDataLst>
                  <p:tags r:id="rId12"/>
                </p:custDataLst>
              </p:nvPr>
            </p:nvPicPr>
            <p:blipFill>
              <a:blip r:embed="rId31" cstate="print"/>
              <a:srcRect/>
              <a:stretch>
                <a:fillRect/>
              </a:stretch>
            </p:blipFill>
            <p:spPr bwMode="auto">
              <a:xfrm>
                <a:off x="3542960" y="2276945"/>
                <a:ext cx="448220" cy="58753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8" name="Picture 11"/>
              <p:cNvPicPr>
                <a:picLocks noChangeAspect="1" noChangeArrowheads="1"/>
              </p:cNvPicPr>
              <p:nvPr>
                <p:custDataLst>
                  <p:tags r:id="rId13"/>
                </p:custDataLst>
              </p:nvPr>
            </p:nvPicPr>
            <p:blipFill>
              <a:blip r:embed="rId31" cstate="print"/>
              <a:srcRect/>
              <a:stretch>
                <a:fillRect/>
              </a:stretch>
            </p:blipFill>
            <p:spPr bwMode="auto">
              <a:xfrm>
                <a:off x="4506729" y="2276945"/>
                <a:ext cx="448220" cy="58753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9" name="TextBox 124"/>
              <p:cNvSpPr txBox="1"/>
              <p:nvPr>
                <p:custDataLst>
                  <p:tags r:id="rId14"/>
                </p:custDataLst>
              </p:nvPr>
            </p:nvSpPr>
            <p:spPr>
              <a:xfrm>
                <a:off x="3309871" y="2870915"/>
                <a:ext cx="914399" cy="253916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CO" sz="1050" dirty="0" smtClean="0">
                    <a:latin typeface="+mj-lt"/>
                  </a:rPr>
                  <a:t>Barcelona 04</a:t>
                </a:r>
                <a:endParaRPr lang="es-CO" sz="1050" dirty="0">
                  <a:latin typeface="+mj-lt"/>
                </a:endParaRPr>
              </a:p>
            </p:txBody>
          </p:sp>
          <p:sp>
            <p:nvSpPr>
              <p:cNvPr id="50" name="TextBox 125"/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4273640" y="2870915"/>
                <a:ext cx="914399" cy="253916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CO" sz="1050" dirty="0" smtClean="0">
                    <a:latin typeface="+mj-lt"/>
                  </a:rPr>
                  <a:t>SCOM</a:t>
                </a:r>
                <a:endParaRPr lang="es-CO" sz="1050" dirty="0">
                  <a:latin typeface="+mj-lt"/>
                </a:endParaRPr>
              </a:p>
            </p:txBody>
          </p:sp>
          <p:cxnSp>
            <p:nvCxnSpPr>
              <p:cNvPr id="51" name="Straight Arrow Connector 126"/>
              <p:cNvCxnSpPr/>
              <p:nvPr>
                <p:custDataLst>
                  <p:tags r:id="rId16"/>
                </p:custDataLst>
              </p:nvPr>
            </p:nvCxnSpPr>
            <p:spPr bwMode="auto">
              <a:xfrm flipH="1">
                <a:off x="3991180" y="2583589"/>
                <a:ext cx="432000" cy="1"/>
              </a:xfrm>
              <a:prstGeom prst="straightConnector1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ysDash"/>
                <a:round/>
                <a:headEnd type="none" w="med" len="med"/>
                <a:tailEnd type="arrow"/>
              </a:ln>
              <a:effectLst/>
            </p:spPr>
          </p:cxnSp>
        </p:grpSp>
        <p:grpSp>
          <p:nvGrpSpPr>
            <p:cNvPr id="43" name="Group 110"/>
            <p:cNvGrpSpPr/>
            <p:nvPr/>
          </p:nvGrpSpPr>
          <p:grpSpPr>
            <a:xfrm>
              <a:off x="3839671" y="1918957"/>
              <a:ext cx="554404" cy="489392"/>
              <a:chOff x="3826792" y="1944715"/>
              <a:chExt cx="554404" cy="489392"/>
            </a:xfrm>
            <a:grpFill/>
          </p:grpSpPr>
          <p:sp>
            <p:nvSpPr>
              <p:cNvPr id="45" name="Arc 120"/>
              <p:cNvSpPr/>
              <p:nvPr>
                <p:custDataLst>
                  <p:tags r:id="rId10"/>
                </p:custDataLst>
              </p:nvPr>
            </p:nvSpPr>
            <p:spPr bwMode="auto">
              <a:xfrm>
                <a:off x="3837907" y="1944715"/>
                <a:ext cx="489395" cy="489392"/>
              </a:xfrm>
              <a:prstGeom prst="arc">
                <a:avLst>
                  <a:gd name="adj1" fmla="val 16200000"/>
                  <a:gd name="adj2" fmla="val 13637434"/>
                </a:avLst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oval" w="med" len="med"/>
                <a:tailEnd type="triangle" w="med" len="med"/>
              </a:ln>
              <a:effectLst/>
            </p:spPr>
            <p:txBody>
              <a:bodyPr vert="horz" wrap="non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endParaRPr kumimoji="0" lang="es-CO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endParaRPr>
              </a:p>
            </p:txBody>
          </p:sp>
          <p:sp>
            <p:nvSpPr>
              <p:cNvPr id="46" name="TextBox 121"/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3826792" y="2108230"/>
                <a:ext cx="554404" cy="215444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r>
                  <a:rPr lang="es-CO" sz="800" dirty="0" smtClean="0">
                    <a:solidFill>
                      <a:srgbClr val="FF0000"/>
                    </a:solidFill>
                    <a:latin typeface="+mj-lt"/>
                  </a:rPr>
                  <a:t>24 X 7</a:t>
                </a:r>
                <a:endParaRPr lang="es-CO" sz="800" dirty="0">
                  <a:solidFill>
                    <a:srgbClr val="FF0000"/>
                  </a:solidFill>
                  <a:latin typeface="+mj-lt"/>
                </a:endParaRPr>
              </a:p>
            </p:txBody>
          </p:sp>
        </p:grpSp>
        <p:sp>
          <p:nvSpPr>
            <p:cNvPr id="44" name="Rounded Rectangle 119"/>
            <p:cNvSpPr/>
            <p:nvPr>
              <p:custDataLst>
                <p:tags r:id="rId9"/>
              </p:custDataLst>
            </p:nvPr>
          </p:nvSpPr>
          <p:spPr bwMode="auto">
            <a:xfrm>
              <a:off x="3140313" y="1403797"/>
              <a:ext cx="1869569" cy="1648496"/>
            </a:xfrm>
            <a:prstGeom prst="roundRect">
              <a:avLst>
                <a:gd name="adj" fmla="val 6262"/>
              </a:avLst>
            </a:prstGeom>
            <a:grpFill/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11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Consola</a:t>
              </a:r>
              <a:r>
                <a:rPr kumimoji="0" lang="es-CO" sz="1100" b="1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 secundaria de 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1100" b="1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monitoreo</a:t>
              </a:r>
              <a:endParaRPr kumimoji="0" lang="es-CO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</p:grpSp>
      <p:cxnSp>
        <p:nvCxnSpPr>
          <p:cNvPr id="52" name="Straight Arrow Connector 137"/>
          <p:cNvCxnSpPr/>
          <p:nvPr/>
        </p:nvCxnSpPr>
        <p:spPr bwMode="auto">
          <a:xfrm>
            <a:off x="7094474" y="4250458"/>
            <a:ext cx="1152000" cy="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3" name="TextBox 139"/>
          <p:cNvSpPr txBox="1"/>
          <p:nvPr>
            <p:custDataLst>
              <p:tags r:id="rId8"/>
            </p:custDataLst>
          </p:nvPr>
        </p:nvSpPr>
        <p:spPr>
          <a:xfrm>
            <a:off x="8237651" y="5172182"/>
            <a:ext cx="1188000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sz="1050" dirty="0" smtClean="0">
                <a:latin typeface="+mj-lt"/>
              </a:rPr>
              <a:t>Eventos escalados</a:t>
            </a:r>
            <a:endParaRPr lang="es-CO" sz="1050" dirty="0">
              <a:latin typeface="+mj-lt"/>
            </a:endParaRPr>
          </a:p>
        </p:txBody>
      </p:sp>
      <p:cxnSp>
        <p:nvCxnSpPr>
          <p:cNvPr id="54" name="Straight Arrow Connector 141"/>
          <p:cNvCxnSpPr/>
          <p:nvPr/>
        </p:nvCxnSpPr>
        <p:spPr bwMode="auto">
          <a:xfrm>
            <a:off x="9453630" y="4996001"/>
            <a:ext cx="0" cy="57600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5" name="Rounded Rectangle 142"/>
          <p:cNvSpPr/>
          <p:nvPr/>
        </p:nvSpPr>
        <p:spPr bwMode="auto">
          <a:xfrm>
            <a:off x="8292400" y="5661660"/>
            <a:ext cx="2304000" cy="712202"/>
          </a:xfrm>
          <a:prstGeom prst="roundRect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20000"/>
              </a:spcBef>
              <a:buSzPct val="100000"/>
            </a:pPr>
            <a:r>
              <a:rPr lang="es-CO" dirty="0" smtClean="0">
                <a:latin typeface="+mj-lt"/>
              </a:rPr>
              <a:t>Gestión de problemas</a:t>
            </a:r>
          </a:p>
        </p:txBody>
      </p:sp>
      <p:sp>
        <p:nvSpPr>
          <p:cNvPr id="56" name="Rounded Rectangle 56"/>
          <p:cNvSpPr/>
          <p:nvPr/>
        </p:nvSpPr>
        <p:spPr bwMode="auto">
          <a:xfrm>
            <a:off x="2112673" y="1429985"/>
            <a:ext cx="2212990" cy="4912395"/>
          </a:xfrm>
          <a:prstGeom prst="roundRect">
            <a:avLst>
              <a:gd name="adj" fmla="val 6262"/>
            </a:avLst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Infraestructura de TI</a:t>
            </a:r>
          </a:p>
        </p:txBody>
      </p:sp>
      <p:cxnSp>
        <p:nvCxnSpPr>
          <p:cNvPr id="57" name="Straight Arrow Connector 57"/>
          <p:cNvCxnSpPr/>
          <p:nvPr/>
        </p:nvCxnSpPr>
        <p:spPr bwMode="auto">
          <a:xfrm>
            <a:off x="6984023" y="4520418"/>
            <a:ext cx="1230923" cy="1453662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8" name="TextBox 138"/>
          <p:cNvSpPr txBox="1"/>
          <p:nvPr/>
        </p:nvSpPr>
        <p:spPr>
          <a:xfrm>
            <a:off x="6923582" y="4303495"/>
            <a:ext cx="1188000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sz="1050" dirty="0" smtClean="0">
                <a:latin typeface="+mj-lt"/>
              </a:rPr>
              <a:t>Eventos escalados</a:t>
            </a:r>
            <a:endParaRPr lang="es-CO" sz="1050" dirty="0">
              <a:latin typeface="+mj-lt"/>
            </a:endParaRPr>
          </a:p>
        </p:txBody>
      </p:sp>
      <p:sp>
        <p:nvSpPr>
          <p:cNvPr id="59" name="Oval 105"/>
          <p:cNvSpPr/>
          <p:nvPr/>
        </p:nvSpPr>
        <p:spPr bwMode="auto">
          <a:xfrm>
            <a:off x="5703374" y="3980180"/>
            <a:ext cx="1290396" cy="540560"/>
          </a:xfrm>
          <a:prstGeom prst="ellipse">
            <a:avLst/>
          </a:prstGeom>
          <a:solidFill>
            <a:srgbClr val="FFC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Evento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lang="es-CO" sz="900" b="0" dirty="0" smtClean="0">
                <a:latin typeface="+mj-lt"/>
              </a:rPr>
              <a:t>Alerta o notificación</a:t>
            </a:r>
            <a:endParaRPr kumimoji="0" lang="es-CO" sz="11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87917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8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7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0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3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6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9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2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5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8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1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4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7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0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3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6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9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2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5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8" dur="2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1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4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7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0" dur="2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  <p:bldP spid="7" grpId="0" animBg="1"/>
      <p:bldP spid="13" grpId="0"/>
      <p:bldP spid="14" grpId="0"/>
      <p:bldP spid="15" grpId="0"/>
      <p:bldP spid="16" grpId="0"/>
      <p:bldP spid="17" grpId="0"/>
      <p:bldP spid="23" grpId="0"/>
      <p:bldP spid="37" grpId="0" animBg="1"/>
      <p:bldP spid="38" grpId="0"/>
      <p:bldP spid="53" grpId="0" animBg="1"/>
      <p:bldP spid="55" grpId="0" animBg="1"/>
      <p:bldP spid="56" grpId="0" animBg="1"/>
      <p:bldP spid="58" grpId="0" animBg="1"/>
      <p:bldP spid="5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021425" y="578390"/>
            <a:ext cx="8911687" cy="8078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C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evo Modelo operativo</a:t>
            </a:r>
          </a:p>
        </p:txBody>
      </p:sp>
      <p:sp>
        <p:nvSpPr>
          <p:cNvPr id="6" name="Title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21425" y="1264495"/>
            <a:ext cx="7783552" cy="550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CO" sz="2000" b="1" dirty="0" smtClean="0">
                <a:solidFill>
                  <a:schemeClr val="accent1"/>
                </a:solidFill>
              </a:rPr>
              <a:t>Gestión de Problemas</a:t>
            </a:r>
            <a:endParaRPr lang="es-CO" sz="2000" b="1" dirty="0">
              <a:solidFill>
                <a:schemeClr val="accent1"/>
              </a:solidFill>
            </a:endParaRPr>
          </a:p>
        </p:txBody>
      </p:sp>
      <p:sp>
        <p:nvSpPr>
          <p:cNvPr id="7" name="Rounded Rectangle 4"/>
          <p:cNvSpPr/>
          <p:nvPr>
            <p:custDataLst>
              <p:tags r:id="rId2"/>
            </p:custDataLst>
          </p:nvPr>
        </p:nvSpPr>
        <p:spPr bwMode="auto">
          <a:xfrm>
            <a:off x="2082181" y="1904090"/>
            <a:ext cx="2305304" cy="4854850"/>
          </a:xfrm>
          <a:prstGeom prst="roundRect">
            <a:avLst>
              <a:gd name="adj" fmla="val 6262"/>
            </a:avLst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Service Desk</a:t>
            </a:r>
          </a:p>
        </p:txBody>
      </p:sp>
      <p:grpSp>
        <p:nvGrpSpPr>
          <p:cNvPr id="8" name="Group 67"/>
          <p:cNvGrpSpPr/>
          <p:nvPr>
            <p:custDataLst>
              <p:tags r:id="rId3"/>
            </p:custDataLst>
          </p:nvPr>
        </p:nvGrpSpPr>
        <p:grpSpPr>
          <a:xfrm>
            <a:off x="2308115" y="2348464"/>
            <a:ext cx="1961535" cy="2780968"/>
            <a:chOff x="566571" y="1719814"/>
            <a:chExt cx="1961535" cy="2829326"/>
          </a:xfrm>
        </p:grpSpPr>
        <p:sp>
          <p:nvSpPr>
            <p:cNvPr id="9" name="TextBox 5"/>
            <p:cNvSpPr txBox="1"/>
            <p:nvPr/>
          </p:nvSpPr>
          <p:spPr>
            <a:xfrm>
              <a:off x="566571" y="4099301"/>
              <a:ext cx="1961535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es-CO" sz="1050" dirty="0" smtClean="0">
                <a:latin typeface="+mj-lt"/>
              </a:endParaRPr>
            </a:p>
          </p:txBody>
        </p:sp>
        <p:pic>
          <p:nvPicPr>
            <p:cNvPr id="10" name="Picture 9"/>
            <p:cNvPicPr>
              <a:picLocks noChangeAspect="1" noChangeArrowheads="1"/>
            </p:cNvPicPr>
            <p:nvPr/>
          </p:nvPicPr>
          <p:blipFill>
            <a:blip r:embed="rId41" cstate="print"/>
            <a:srcRect/>
            <a:stretch>
              <a:fillRect/>
            </a:stretch>
          </p:blipFill>
          <p:spPr bwMode="auto">
            <a:xfrm>
              <a:off x="887424" y="3747514"/>
              <a:ext cx="500114" cy="6795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9"/>
            <p:cNvPicPr>
              <a:picLocks noChangeAspect="1" noChangeArrowheads="1"/>
            </p:cNvPicPr>
            <p:nvPr/>
          </p:nvPicPr>
          <p:blipFill>
            <a:blip r:embed="rId41" cstate="print"/>
            <a:srcRect/>
            <a:stretch>
              <a:fillRect/>
            </a:stretch>
          </p:blipFill>
          <p:spPr bwMode="auto">
            <a:xfrm>
              <a:off x="1718255" y="3752432"/>
              <a:ext cx="500114" cy="6795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2" name="Group 8"/>
            <p:cNvGrpSpPr/>
            <p:nvPr/>
          </p:nvGrpSpPr>
          <p:grpSpPr>
            <a:xfrm>
              <a:off x="571302" y="1719814"/>
              <a:ext cx="1944694" cy="2829326"/>
              <a:chOff x="3140313" y="1403797"/>
              <a:chExt cx="1944694" cy="2829326"/>
            </a:xfrm>
            <a:noFill/>
          </p:grpSpPr>
          <p:grpSp>
            <p:nvGrpSpPr>
              <p:cNvPr id="13" name="Group 103"/>
              <p:cNvGrpSpPr/>
              <p:nvPr/>
            </p:nvGrpSpPr>
            <p:grpSpPr>
              <a:xfrm>
                <a:off x="3206839" y="2518262"/>
                <a:ext cx="1878168" cy="847886"/>
                <a:chOff x="3309871" y="2608415"/>
                <a:chExt cx="1878168" cy="847886"/>
              </a:xfrm>
              <a:grpFill/>
            </p:grpSpPr>
            <p:pic>
              <p:nvPicPr>
                <p:cNvPr id="18" name="Picture 11"/>
                <p:cNvPicPr>
                  <a:picLocks noChangeAspect="1" noChangeArrowheads="1"/>
                </p:cNvPicPr>
                <p:nvPr>
                  <p:custDataLst>
                    <p:tags r:id="rId35"/>
                  </p:custDataLst>
                </p:nvPr>
              </p:nvPicPr>
              <p:blipFill>
                <a:blip r:embed="rId42" cstate="print"/>
                <a:srcRect/>
                <a:stretch>
                  <a:fillRect/>
                </a:stretch>
              </p:blipFill>
              <p:spPr bwMode="auto">
                <a:xfrm>
                  <a:off x="3542960" y="2608415"/>
                  <a:ext cx="448220" cy="587531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19" name="Picture 11"/>
                <p:cNvPicPr>
                  <a:picLocks noChangeAspect="1" noChangeArrowheads="1"/>
                </p:cNvPicPr>
                <p:nvPr>
                  <p:custDataLst>
                    <p:tags r:id="rId36"/>
                  </p:custDataLst>
                </p:nvPr>
              </p:nvPicPr>
              <p:blipFill>
                <a:blip r:embed="rId42" cstate="print"/>
                <a:srcRect/>
                <a:stretch>
                  <a:fillRect/>
                </a:stretch>
              </p:blipFill>
              <p:spPr bwMode="auto">
                <a:xfrm>
                  <a:off x="4506729" y="2608415"/>
                  <a:ext cx="448220" cy="587531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0" name="TextBox 16"/>
                <p:cNvSpPr txBox="1"/>
                <p:nvPr>
                  <p:custDataLst>
                    <p:tags r:id="rId37"/>
                  </p:custDataLst>
                </p:nvPr>
              </p:nvSpPr>
              <p:spPr>
                <a:xfrm>
                  <a:off x="3309871" y="3202385"/>
                  <a:ext cx="914399" cy="253916"/>
                </a:xfrm>
                <a:prstGeom prst="rect">
                  <a:avLst/>
                </a:prstGeom>
                <a:grp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CO" sz="1050" dirty="0" smtClean="0">
                      <a:latin typeface="+mj-lt"/>
                    </a:rPr>
                    <a:t>Barcelona 04</a:t>
                  </a:r>
                  <a:endParaRPr lang="es-CO" sz="1050" dirty="0">
                    <a:latin typeface="+mj-lt"/>
                  </a:endParaRPr>
                </a:p>
              </p:txBody>
            </p:sp>
            <p:sp>
              <p:nvSpPr>
                <p:cNvPr id="21" name="TextBox 17"/>
                <p:cNvSpPr txBox="1"/>
                <p:nvPr>
                  <p:custDataLst>
                    <p:tags r:id="rId38"/>
                  </p:custDataLst>
                </p:nvPr>
              </p:nvSpPr>
              <p:spPr>
                <a:xfrm>
                  <a:off x="4273640" y="3202385"/>
                  <a:ext cx="914399" cy="253916"/>
                </a:xfrm>
                <a:prstGeom prst="rect">
                  <a:avLst/>
                </a:prstGeom>
                <a:grp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CO" sz="1050" dirty="0" smtClean="0">
                      <a:latin typeface="+mj-lt"/>
                    </a:rPr>
                    <a:t>SCOM</a:t>
                  </a:r>
                  <a:endParaRPr lang="es-CO" sz="1050" dirty="0">
                    <a:latin typeface="+mj-lt"/>
                  </a:endParaRPr>
                </a:p>
              </p:txBody>
            </p:sp>
            <p:cxnSp>
              <p:nvCxnSpPr>
                <p:cNvPr id="22" name="Straight Arrow Connector 18"/>
                <p:cNvCxnSpPr/>
                <p:nvPr>
                  <p:custDataLst>
                    <p:tags r:id="rId39"/>
                  </p:custDataLst>
                </p:nvPr>
              </p:nvCxnSpPr>
              <p:spPr bwMode="auto">
                <a:xfrm flipH="1">
                  <a:off x="3991180" y="2915059"/>
                  <a:ext cx="432000" cy="1"/>
                </a:xfrm>
                <a:prstGeom prst="straightConnector1">
                  <a:avLst/>
                </a:prstGeom>
                <a:grpFill/>
                <a:ln w="9525" cap="flat" cmpd="sng" algn="ctr">
                  <a:solidFill>
                    <a:schemeClr val="tx1"/>
                  </a:solidFill>
                  <a:prstDash val="sysDash"/>
                  <a:round/>
                  <a:headEnd type="none" w="med" len="med"/>
                  <a:tailEnd type="arrow"/>
                </a:ln>
                <a:effectLst/>
              </p:spPr>
            </p:cxnSp>
          </p:grpSp>
          <p:grpSp>
            <p:nvGrpSpPr>
              <p:cNvPr id="14" name="Group 110"/>
              <p:cNvGrpSpPr/>
              <p:nvPr/>
            </p:nvGrpSpPr>
            <p:grpSpPr>
              <a:xfrm>
                <a:off x="3839671" y="2250427"/>
                <a:ext cx="554404" cy="489392"/>
                <a:chOff x="3826792" y="2276185"/>
                <a:chExt cx="554404" cy="489392"/>
              </a:xfrm>
              <a:grpFill/>
            </p:grpSpPr>
            <p:sp>
              <p:nvSpPr>
                <p:cNvPr id="16" name="Arc 12"/>
                <p:cNvSpPr/>
                <p:nvPr>
                  <p:custDataLst>
                    <p:tags r:id="rId33"/>
                  </p:custDataLst>
                </p:nvPr>
              </p:nvSpPr>
              <p:spPr bwMode="auto">
                <a:xfrm>
                  <a:off x="3837907" y="2276185"/>
                  <a:ext cx="489395" cy="489392"/>
                </a:xfrm>
                <a:prstGeom prst="arc">
                  <a:avLst>
                    <a:gd name="adj1" fmla="val 16200000"/>
                    <a:gd name="adj2" fmla="val 13637434"/>
                  </a:avLst>
                </a:prstGeom>
                <a:grp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oval" w="med" len="med"/>
                  <a:tailEnd type="triangle" w="med" len="med"/>
                </a:ln>
                <a:effectLst/>
              </p:spPr>
              <p:txBody>
                <a:bodyPr vert="horz" wrap="none" lIns="72000" tIns="72000" rIns="72000" bIns="72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ct val="0"/>
                    </a:spcAft>
                    <a:buClrTx/>
                    <a:buSzPct val="100000"/>
                    <a:buFont typeface="Wingdings" pitchFamily="2" charset="2"/>
                    <a:buNone/>
                    <a:tabLst/>
                  </a:pPr>
                  <a:endParaRPr kumimoji="0" lang="es-CO" sz="14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+mj-lt"/>
                  </a:endParaRPr>
                </a:p>
              </p:txBody>
            </p:sp>
            <p:sp>
              <p:nvSpPr>
                <p:cNvPr id="17" name="TextBox 13"/>
                <p:cNvSpPr txBox="1"/>
                <p:nvPr>
                  <p:custDataLst>
                    <p:tags r:id="rId34"/>
                  </p:custDataLst>
                </p:nvPr>
              </p:nvSpPr>
              <p:spPr>
                <a:xfrm>
                  <a:off x="3826792" y="2439700"/>
                  <a:ext cx="554404" cy="215444"/>
                </a:xfrm>
                <a:prstGeom prst="rect">
                  <a:avLst/>
                </a:prstGeom>
                <a:grpFill/>
              </p:spPr>
              <p:txBody>
                <a:bodyPr wrap="square" rtlCol="0">
                  <a:spAutoFit/>
                </a:bodyPr>
                <a:lstStyle/>
                <a:p>
                  <a:r>
                    <a:rPr lang="es-CO" sz="800" dirty="0" smtClean="0">
                      <a:solidFill>
                        <a:srgbClr val="FF0000"/>
                      </a:solidFill>
                      <a:latin typeface="+mj-lt"/>
                    </a:rPr>
                    <a:t>24 X 7</a:t>
                  </a:r>
                  <a:endParaRPr lang="es-CO" sz="800" dirty="0">
                    <a:solidFill>
                      <a:srgbClr val="FF0000"/>
                    </a:solidFill>
                    <a:latin typeface="+mj-lt"/>
                  </a:endParaRPr>
                </a:p>
              </p:txBody>
            </p:sp>
          </p:grpSp>
          <p:sp>
            <p:nvSpPr>
              <p:cNvPr id="15" name="Rounded Rectangle 11"/>
              <p:cNvSpPr/>
              <p:nvPr>
                <p:custDataLst>
                  <p:tags r:id="rId32"/>
                </p:custDataLst>
              </p:nvPr>
            </p:nvSpPr>
            <p:spPr bwMode="auto">
              <a:xfrm>
                <a:off x="3140313" y="1403797"/>
                <a:ext cx="1869569" cy="2829326"/>
              </a:xfrm>
              <a:prstGeom prst="roundRect">
                <a:avLst>
                  <a:gd name="adj" fmla="val 6262"/>
                </a:avLst>
              </a:prstGeom>
              <a:grpFill/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72000" rIns="72000" bIns="7200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s-CO" sz="1100" dirty="0" smtClean="0">
                    <a:latin typeface="+mj-lt"/>
                  </a:rPr>
                  <a:t>Analistas técnicos y funcionales</a:t>
                </a:r>
              </a:p>
              <a:p>
                <a:pPr algn="ctr"/>
                <a:r>
                  <a:rPr lang="es-CO" sz="1100" dirty="0" smtClean="0">
                    <a:latin typeface="+mj-lt"/>
                  </a:rPr>
                  <a:t>Soporte de segunda línea</a:t>
                </a:r>
              </a:p>
              <a:p>
                <a:pPr algn="ctr"/>
                <a:r>
                  <a:rPr lang="es-CO" sz="1100" dirty="0" smtClean="0">
                    <a:latin typeface="+mj-lt"/>
                  </a:rPr>
                  <a:t>Gestores de eventos</a:t>
                </a:r>
              </a:p>
            </p:txBody>
          </p:sp>
        </p:grpSp>
      </p:grpSp>
      <p:sp>
        <p:nvSpPr>
          <p:cNvPr id="23" name="Rounded Rectangle 19"/>
          <p:cNvSpPr/>
          <p:nvPr>
            <p:custDataLst>
              <p:tags r:id="rId4"/>
            </p:custDataLst>
          </p:nvPr>
        </p:nvSpPr>
        <p:spPr bwMode="auto">
          <a:xfrm>
            <a:off x="5467431" y="1904090"/>
            <a:ext cx="4720590" cy="3492000"/>
          </a:xfrm>
          <a:prstGeom prst="roundRect">
            <a:avLst>
              <a:gd name="adj" fmla="val 6262"/>
            </a:avLst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lang="es-CO" dirty="0" smtClean="0">
                <a:latin typeface="+mj-lt"/>
              </a:rPr>
              <a:t>Áreas Solucionadoras</a:t>
            </a: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grpSp>
        <p:nvGrpSpPr>
          <p:cNvPr id="24" name="Group 54"/>
          <p:cNvGrpSpPr/>
          <p:nvPr>
            <p:custDataLst>
              <p:tags r:id="rId5"/>
            </p:custDataLst>
          </p:nvPr>
        </p:nvGrpSpPr>
        <p:grpSpPr>
          <a:xfrm>
            <a:off x="5691481" y="2403752"/>
            <a:ext cx="1004513" cy="2053948"/>
            <a:chOff x="3961660" y="1740812"/>
            <a:chExt cx="1004513" cy="2053948"/>
          </a:xfrm>
        </p:grpSpPr>
        <p:sp>
          <p:nvSpPr>
            <p:cNvPr id="25" name="Rounded Rectangle 20"/>
            <p:cNvSpPr/>
            <p:nvPr>
              <p:custDataLst>
                <p:tags r:id="rId31"/>
              </p:custDataLst>
            </p:nvPr>
          </p:nvSpPr>
          <p:spPr bwMode="auto">
            <a:xfrm>
              <a:off x="3961660" y="1740812"/>
              <a:ext cx="1004513" cy="2053948"/>
            </a:xfrm>
            <a:prstGeom prst="roundRect">
              <a:avLst>
                <a:gd name="adj" fmla="val 4742"/>
              </a:avLst>
            </a:prstGeom>
            <a:noFill/>
            <a:ln w="19050" cap="flat" cmpd="sng" algn="ctr">
              <a:solidFill>
                <a:srgbClr val="FF6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non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ctr"/>
              <a:r>
                <a:rPr lang="es-CO" sz="1200" dirty="0" smtClean="0">
                  <a:solidFill>
                    <a:srgbClr val="000000"/>
                  </a:solidFill>
                  <a:latin typeface="+mj-lt"/>
                </a:rPr>
                <a:t>Control Tecnológico</a:t>
              </a:r>
              <a:endParaRPr lang="es-CO" sz="1200" dirty="0">
                <a:solidFill>
                  <a:srgbClr val="000000"/>
                </a:solidFill>
                <a:latin typeface="+mj-lt"/>
              </a:endParaRPr>
            </a:p>
          </p:txBody>
        </p:sp>
        <p:pic>
          <p:nvPicPr>
            <p:cNvPr id="26" name="Picture 2"/>
            <p:cNvPicPr>
              <a:picLocks noChangeAspect="1" noChangeArrowheads="1"/>
            </p:cNvPicPr>
            <p:nvPr/>
          </p:nvPicPr>
          <p:blipFill>
            <a:blip r:embed="rId43" cstate="print"/>
            <a:srcRect/>
            <a:stretch>
              <a:fillRect/>
            </a:stretch>
          </p:blipFill>
          <p:spPr bwMode="auto">
            <a:xfrm>
              <a:off x="4480489" y="2181592"/>
              <a:ext cx="358896" cy="6225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43" cstate="print"/>
            <a:srcRect/>
            <a:stretch>
              <a:fillRect/>
            </a:stretch>
          </p:blipFill>
          <p:spPr bwMode="auto">
            <a:xfrm>
              <a:off x="4343329" y="2825482"/>
              <a:ext cx="358896" cy="6225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8" name="Group 53"/>
          <p:cNvGrpSpPr/>
          <p:nvPr>
            <p:custDataLst>
              <p:tags r:id="rId6"/>
            </p:custDataLst>
          </p:nvPr>
        </p:nvGrpSpPr>
        <p:grpSpPr>
          <a:xfrm>
            <a:off x="6844756" y="2403752"/>
            <a:ext cx="1004513" cy="2053948"/>
            <a:chOff x="5114935" y="1740812"/>
            <a:chExt cx="1004513" cy="2053948"/>
          </a:xfrm>
        </p:grpSpPr>
        <p:sp>
          <p:nvSpPr>
            <p:cNvPr id="29" name="Rounded Rectangle 21"/>
            <p:cNvSpPr/>
            <p:nvPr>
              <p:custDataLst>
                <p:tags r:id="rId30"/>
              </p:custDataLst>
            </p:nvPr>
          </p:nvSpPr>
          <p:spPr bwMode="auto">
            <a:xfrm>
              <a:off x="5114935" y="1740812"/>
              <a:ext cx="1004513" cy="2053948"/>
            </a:xfrm>
            <a:prstGeom prst="roundRect">
              <a:avLst>
                <a:gd name="adj" fmla="val 5338"/>
              </a:avLst>
            </a:prstGeom>
            <a:noFill/>
            <a:ln w="19050" cap="flat" cmpd="sng" algn="ctr">
              <a:solidFill>
                <a:schemeClr val="accent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non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ctr"/>
              <a:r>
                <a:rPr lang="es-CO" sz="1200" dirty="0" smtClean="0">
                  <a:solidFill>
                    <a:srgbClr val="000000"/>
                  </a:solidFill>
                  <a:latin typeface="+mj-lt"/>
                </a:rPr>
                <a:t>Infraestructura y Networking</a:t>
              </a:r>
              <a:endParaRPr lang="es-CO" sz="1200" dirty="0">
                <a:solidFill>
                  <a:srgbClr val="000000"/>
                </a:solidFill>
                <a:latin typeface="+mj-lt"/>
              </a:endParaRPr>
            </a:p>
          </p:txBody>
        </p:sp>
        <p:pic>
          <p:nvPicPr>
            <p:cNvPr id="30" name="Picture 3"/>
            <p:cNvPicPr>
              <a:picLocks noChangeAspect="1" noChangeArrowheads="1"/>
            </p:cNvPicPr>
            <p:nvPr/>
          </p:nvPicPr>
          <p:blipFill>
            <a:blip r:embed="rId44" cstate="print"/>
            <a:srcRect/>
            <a:stretch>
              <a:fillRect/>
            </a:stretch>
          </p:blipFill>
          <p:spPr bwMode="auto">
            <a:xfrm>
              <a:off x="5519010" y="2041209"/>
              <a:ext cx="520032" cy="7104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1" name="Picture 3"/>
            <p:cNvPicPr>
              <a:picLocks noChangeAspect="1" noChangeArrowheads="1"/>
            </p:cNvPicPr>
            <p:nvPr/>
          </p:nvPicPr>
          <p:blipFill>
            <a:blip r:embed="rId44" cstate="print"/>
            <a:srcRect/>
            <a:stretch>
              <a:fillRect/>
            </a:stretch>
          </p:blipFill>
          <p:spPr bwMode="auto">
            <a:xfrm>
              <a:off x="5519010" y="2845119"/>
              <a:ext cx="520032" cy="7104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2" name="Group 55"/>
          <p:cNvGrpSpPr/>
          <p:nvPr>
            <p:custDataLst>
              <p:tags r:id="rId7"/>
            </p:custDataLst>
          </p:nvPr>
        </p:nvGrpSpPr>
        <p:grpSpPr>
          <a:xfrm>
            <a:off x="7986308" y="2403752"/>
            <a:ext cx="1004513" cy="2053948"/>
            <a:chOff x="6924698" y="1740812"/>
            <a:chExt cx="1004513" cy="2053948"/>
          </a:xfrm>
        </p:grpSpPr>
        <p:sp>
          <p:nvSpPr>
            <p:cNvPr id="33" name="Rounded Rectangle 22"/>
            <p:cNvSpPr/>
            <p:nvPr>
              <p:custDataLst>
                <p:tags r:id="rId29"/>
              </p:custDataLst>
            </p:nvPr>
          </p:nvSpPr>
          <p:spPr bwMode="auto">
            <a:xfrm>
              <a:off x="6924698" y="1740812"/>
              <a:ext cx="1004513" cy="2053948"/>
            </a:xfrm>
            <a:prstGeom prst="roundRect">
              <a:avLst>
                <a:gd name="adj" fmla="val 5338"/>
              </a:avLst>
            </a:prstGeom>
            <a:noFill/>
            <a:ln w="19050" cap="flat" cmpd="sng" algn="ctr">
              <a:solidFill>
                <a:srgbClr val="0066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270" wrap="non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ctr"/>
              <a:r>
                <a:rPr lang="es-CO" sz="1200" dirty="0" smtClean="0">
                  <a:solidFill>
                    <a:srgbClr val="000000"/>
                  </a:solidFill>
                  <a:latin typeface="+mj-lt"/>
                </a:rPr>
                <a:t>Centro de Cómputo</a:t>
              </a:r>
              <a:endParaRPr lang="es-CO" sz="1200" dirty="0">
                <a:solidFill>
                  <a:srgbClr val="000000"/>
                </a:solidFill>
                <a:latin typeface="+mj-lt"/>
              </a:endParaRPr>
            </a:p>
          </p:txBody>
        </p:sp>
        <p:pic>
          <p:nvPicPr>
            <p:cNvPr id="34" name="Picture 4"/>
            <p:cNvPicPr>
              <a:picLocks noChangeAspect="1" noChangeArrowheads="1"/>
            </p:cNvPicPr>
            <p:nvPr/>
          </p:nvPicPr>
          <p:blipFill>
            <a:blip r:embed="rId45" cstate="print"/>
            <a:srcRect/>
            <a:stretch>
              <a:fillRect/>
            </a:stretch>
          </p:blipFill>
          <p:spPr bwMode="auto">
            <a:xfrm>
              <a:off x="7296444" y="1939290"/>
              <a:ext cx="571303" cy="8496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5" name="Picture 4"/>
            <p:cNvPicPr>
              <a:picLocks noChangeAspect="1" noChangeArrowheads="1"/>
            </p:cNvPicPr>
            <p:nvPr/>
          </p:nvPicPr>
          <p:blipFill>
            <a:blip r:embed="rId45" cstate="print"/>
            <a:srcRect/>
            <a:stretch>
              <a:fillRect/>
            </a:stretch>
          </p:blipFill>
          <p:spPr bwMode="auto">
            <a:xfrm>
              <a:off x="7296444" y="2766060"/>
              <a:ext cx="571303" cy="8496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6" name="Group 49"/>
          <p:cNvGrpSpPr/>
          <p:nvPr>
            <p:custDataLst>
              <p:tags r:id="rId8"/>
            </p:custDataLst>
          </p:nvPr>
        </p:nvGrpSpPr>
        <p:grpSpPr>
          <a:xfrm>
            <a:off x="8004784" y="4579263"/>
            <a:ext cx="2088000" cy="678538"/>
            <a:chOff x="3961659" y="3870602"/>
            <a:chExt cx="2204679" cy="678538"/>
          </a:xfrm>
        </p:grpSpPr>
        <p:sp>
          <p:nvSpPr>
            <p:cNvPr id="37" name="Rounded Rectangle 40"/>
            <p:cNvSpPr/>
            <p:nvPr>
              <p:custDataLst>
                <p:tags r:id="rId28"/>
              </p:custDataLst>
            </p:nvPr>
          </p:nvSpPr>
          <p:spPr bwMode="auto">
            <a:xfrm>
              <a:off x="3961659" y="3870602"/>
              <a:ext cx="2204679" cy="678538"/>
            </a:xfrm>
            <a:prstGeom prst="roundRect">
              <a:avLst>
                <a:gd name="adj" fmla="val 4742"/>
              </a:avLst>
            </a:prstGeom>
            <a:noFill/>
            <a:ln w="1905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algn="ctr" fontAlgn="ctr"/>
              <a:r>
                <a:rPr lang="es-CO" sz="1200" dirty="0" smtClean="0">
                  <a:solidFill>
                    <a:srgbClr val="000000"/>
                  </a:solidFill>
                  <a:latin typeface="+mj-lt"/>
                </a:rPr>
                <a:t>Proveedores externos</a:t>
              </a:r>
              <a:endParaRPr lang="es-CO" sz="1200" dirty="0">
                <a:solidFill>
                  <a:srgbClr val="000000"/>
                </a:solidFill>
                <a:latin typeface="+mj-lt"/>
              </a:endParaRPr>
            </a:p>
          </p:txBody>
        </p:sp>
        <p:pic>
          <p:nvPicPr>
            <p:cNvPr id="38" name="Picture 5"/>
            <p:cNvPicPr>
              <a:picLocks noChangeAspect="1" noChangeArrowheads="1"/>
            </p:cNvPicPr>
            <p:nvPr/>
          </p:nvPicPr>
          <p:blipFill>
            <a:blip r:embed="rId46" cstate="print"/>
            <a:srcRect/>
            <a:stretch>
              <a:fillRect/>
            </a:stretch>
          </p:blipFill>
          <p:spPr bwMode="auto">
            <a:xfrm>
              <a:off x="4840677" y="4120149"/>
              <a:ext cx="376092" cy="3916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9" name="TextBox 45"/>
          <p:cNvSpPr txBox="1"/>
          <p:nvPr>
            <p:custDataLst>
              <p:tags r:id="rId9"/>
            </p:custDataLst>
          </p:nvPr>
        </p:nvSpPr>
        <p:spPr>
          <a:xfrm>
            <a:off x="4427732" y="3042392"/>
            <a:ext cx="959689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50" dirty="0" smtClean="0">
                <a:latin typeface="+mj-lt"/>
              </a:rPr>
              <a:t>Eventos / incidentes</a:t>
            </a:r>
          </a:p>
          <a:p>
            <a:pPr algn="ctr"/>
            <a:r>
              <a:rPr lang="es-CO" sz="1050" dirty="0" smtClean="0">
                <a:latin typeface="+mj-lt"/>
              </a:rPr>
              <a:t>escalados</a:t>
            </a:r>
            <a:endParaRPr lang="es-CO" sz="1050" dirty="0">
              <a:latin typeface="+mj-lt"/>
            </a:endParaRPr>
          </a:p>
        </p:txBody>
      </p:sp>
      <p:sp>
        <p:nvSpPr>
          <p:cNvPr id="40" name="TextBox 50"/>
          <p:cNvSpPr txBox="1"/>
          <p:nvPr>
            <p:custDataLst>
              <p:tags r:id="rId10"/>
            </p:custDataLst>
          </p:nvPr>
        </p:nvSpPr>
        <p:spPr>
          <a:xfrm>
            <a:off x="7920916" y="5432141"/>
            <a:ext cx="1581305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sz="1050" dirty="0" smtClean="0">
                <a:latin typeface="+mj-lt"/>
              </a:rPr>
              <a:t>Conocimiento nuevo</a:t>
            </a:r>
            <a:endParaRPr lang="es-CO" sz="1050" dirty="0">
              <a:latin typeface="+mj-lt"/>
            </a:endParaRPr>
          </a:p>
        </p:txBody>
      </p:sp>
      <p:cxnSp>
        <p:nvCxnSpPr>
          <p:cNvPr id="41" name="Straight Arrow Connector 51"/>
          <p:cNvCxnSpPr/>
          <p:nvPr>
            <p:custDataLst>
              <p:tags r:id="rId11"/>
            </p:custDataLst>
          </p:nvPr>
        </p:nvCxnSpPr>
        <p:spPr bwMode="auto">
          <a:xfrm flipH="1">
            <a:off x="7973459" y="5396090"/>
            <a:ext cx="5715" cy="28800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42" name="Rounded Rectangle 52"/>
          <p:cNvSpPr/>
          <p:nvPr>
            <p:custDataLst>
              <p:tags r:id="rId12"/>
            </p:custDataLst>
          </p:nvPr>
        </p:nvSpPr>
        <p:spPr bwMode="auto">
          <a:xfrm>
            <a:off x="9088271" y="2403753"/>
            <a:ext cx="1004513" cy="2053948"/>
          </a:xfrm>
          <a:prstGeom prst="roundRect">
            <a:avLst>
              <a:gd name="adj" fmla="val 5338"/>
            </a:avLst>
          </a:prstGeom>
          <a:noFill/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non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 fontAlgn="ctr"/>
            <a:r>
              <a:rPr lang="es-CO" sz="1200" dirty="0" smtClean="0">
                <a:solidFill>
                  <a:srgbClr val="000000"/>
                </a:solidFill>
                <a:latin typeface="+mj-lt"/>
              </a:rPr>
              <a:t>Diseño y Entrega del Servicio</a:t>
            </a:r>
            <a:endParaRPr lang="es-CO" sz="1200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43" name="Picture 6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47" cstate="print"/>
          <a:srcRect/>
          <a:stretch>
            <a:fillRect/>
          </a:stretch>
        </p:blipFill>
        <p:spPr bwMode="auto">
          <a:xfrm>
            <a:off x="9471082" y="2839401"/>
            <a:ext cx="500063" cy="48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7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9471082" y="3484172"/>
            <a:ext cx="500063" cy="486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3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3468872" y="5789313"/>
            <a:ext cx="516181" cy="537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Rounded Rectangle 68"/>
          <p:cNvSpPr/>
          <p:nvPr>
            <p:custDataLst>
              <p:tags r:id="rId16"/>
            </p:custDataLst>
          </p:nvPr>
        </p:nvSpPr>
        <p:spPr bwMode="auto">
          <a:xfrm>
            <a:off x="2316363" y="5399064"/>
            <a:ext cx="1869569" cy="1211286"/>
          </a:xfrm>
          <a:prstGeom prst="roundRect">
            <a:avLst>
              <a:gd name="adj" fmla="val 6262"/>
            </a:avLst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nalista del conocimiento</a:t>
            </a:r>
          </a:p>
        </p:txBody>
      </p:sp>
      <p:pic>
        <p:nvPicPr>
          <p:cNvPr id="47" name="Picture 8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7461966" y="5728369"/>
            <a:ext cx="474345" cy="479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8" name="Straight Arrow Connector 71"/>
          <p:cNvCxnSpPr>
            <a:endCxn id="46" idx="3"/>
          </p:cNvCxnSpPr>
          <p:nvPr/>
        </p:nvCxnSpPr>
        <p:spPr bwMode="auto">
          <a:xfrm flipH="1">
            <a:off x="4185932" y="5996940"/>
            <a:ext cx="3170966" cy="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49" name="Picture 8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7967744" y="5728369"/>
            <a:ext cx="474345" cy="479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" name="Picture 8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7614366" y="6189379"/>
            <a:ext cx="474345" cy="479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" name="Picture 8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8120144" y="6189379"/>
            <a:ext cx="474345" cy="479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2" name="Group 87"/>
          <p:cNvGrpSpPr/>
          <p:nvPr/>
        </p:nvGrpSpPr>
        <p:grpSpPr>
          <a:xfrm>
            <a:off x="2198296" y="5783580"/>
            <a:ext cx="1080000" cy="776471"/>
            <a:chOff x="1314295" y="5132070"/>
            <a:chExt cx="1080000" cy="776471"/>
          </a:xfrm>
        </p:grpSpPr>
        <p:sp>
          <p:nvSpPr>
            <p:cNvPr id="53" name="Flowchart: Magnetic Disk 84"/>
            <p:cNvSpPr/>
            <p:nvPr>
              <p:custDataLst>
                <p:tags r:id="rId24"/>
              </p:custDataLst>
            </p:nvPr>
          </p:nvSpPr>
          <p:spPr bwMode="auto">
            <a:xfrm>
              <a:off x="1597120" y="5436870"/>
              <a:ext cx="514350" cy="171450"/>
            </a:xfrm>
            <a:prstGeom prst="flowChartMagneticDisk">
              <a:avLst/>
            </a:prstGeom>
            <a:solidFill>
              <a:srgbClr val="FFC0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4" name="Flowchart: Magnetic Disk 83"/>
            <p:cNvSpPr/>
            <p:nvPr>
              <p:custDataLst>
                <p:tags r:id="rId25"/>
              </p:custDataLst>
            </p:nvPr>
          </p:nvSpPr>
          <p:spPr bwMode="auto">
            <a:xfrm>
              <a:off x="1597120" y="5284470"/>
              <a:ext cx="514350" cy="171450"/>
            </a:xfrm>
            <a:prstGeom prst="flowChartMagneticDisk">
              <a:avLst/>
            </a:prstGeom>
            <a:solidFill>
              <a:srgbClr val="FFC0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5" name="Flowchart: Magnetic Disk 82"/>
            <p:cNvSpPr/>
            <p:nvPr>
              <p:custDataLst>
                <p:tags r:id="rId26"/>
              </p:custDataLst>
            </p:nvPr>
          </p:nvSpPr>
          <p:spPr bwMode="auto">
            <a:xfrm>
              <a:off x="1597120" y="5132070"/>
              <a:ext cx="514350" cy="171450"/>
            </a:xfrm>
            <a:prstGeom prst="flowChartMagneticDisk">
              <a:avLst/>
            </a:prstGeom>
            <a:solidFill>
              <a:srgbClr val="FFC0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TextBox 86"/>
            <p:cNvSpPr txBox="1"/>
            <p:nvPr>
              <p:custDataLst>
                <p:tags r:id="rId27"/>
              </p:custDataLst>
            </p:nvPr>
          </p:nvSpPr>
          <p:spPr>
            <a:xfrm>
              <a:off x="1314295" y="5584541"/>
              <a:ext cx="1080000" cy="3240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800" dirty="0" smtClean="0">
                  <a:latin typeface="+mj-lt"/>
                </a:rPr>
                <a:t>Base de conocimiento</a:t>
              </a:r>
              <a:endParaRPr lang="es-CO" sz="800" dirty="0">
                <a:latin typeface="+mj-lt"/>
              </a:endParaRPr>
            </a:p>
          </p:txBody>
        </p:sp>
      </p:grpSp>
      <p:cxnSp>
        <p:nvCxnSpPr>
          <p:cNvPr id="57" name="Straight Arrow Connector 88"/>
          <p:cNvCxnSpPr/>
          <p:nvPr/>
        </p:nvCxnSpPr>
        <p:spPr bwMode="auto">
          <a:xfrm flipH="1">
            <a:off x="3115322" y="5970270"/>
            <a:ext cx="360000" cy="1905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8" name="Straight Arrow Connector 93"/>
          <p:cNvCxnSpPr/>
          <p:nvPr>
            <p:custDataLst>
              <p:tags r:id="rId21"/>
            </p:custDataLst>
          </p:nvPr>
        </p:nvCxnSpPr>
        <p:spPr bwMode="auto">
          <a:xfrm>
            <a:off x="4445012" y="3630930"/>
            <a:ext cx="972000" cy="1905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9" name="TextBox 94"/>
          <p:cNvSpPr txBox="1"/>
          <p:nvPr/>
        </p:nvSpPr>
        <p:spPr>
          <a:xfrm>
            <a:off x="5055796" y="6030897"/>
            <a:ext cx="1581305" cy="25391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O" sz="1050" dirty="0" smtClean="0">
                <a:latin typeface="+mj-lt"/>
              </a:rPr>
              <a:t>Depuración e indexado</a:t>
            </a:r>
            <a:endParaRPr lang="es-CO" sz="1050" dirty="0">
              <a:latin typeface="+mj-lt"/>
            </a:endParaRPr>
          </a:p>
        </p:txBody>
      </p:sp>
      <p:cxnSp>
        <p:nvCxnSpPr>
          <p:cNvPr id="60" name="Straight Arrow Connector 63"/>
          <p:cNvCxnSpPr>
            <a:stCxn id="46" idx="0"/>
            <a:endCxn id="15" idx="2"/>
          </p:cNvCxnSpPr>
          <p:nvPr>
            <p:custDataLst>
              <p:tags r:id="rId22"/>
            </p:custDataLst>
          </p:nvPr>
        </p:nvCxnSpPr>
        <p:spPr bwMode="auto">
          <a:xfrm flipH="1" flipV="1">
            <a:off x="3247631" y="5129432"/>
            <a:ext cx="3517" cy="269632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1" name="Rounded Rectangle 60"/>
          <p:cNvSpPr/>
          <p:nvPr>
            <p:custDataLst>
              <p:tags r:id="rId23"/>
            </p:custDataLst>
          </p:nvPr>
        </p:nvSpPr>
        <p:spPr bwMode="auto">
          <a:xfrm>
            <a:off x="5691481" y="4579263"/>
            <a:ext cx="2088000" cy="678538"/>
          </a:xfrm>
          <a:prstGeom prst="roundRect">
            <a:avLst>
              <a:gd name="adj" fmla="val 4742"/>
            </a:avLst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 fontAlgn="ctr"/>
            <a:r>
              <a:rPr lang="es-CO" sz="1200" dirty="0" smtClean="0">
                <a:solidFill>
                  <a:srgbClr val="000000"/>
                </a:solidFill>
                <a:latin typeface="+mj-lt"/>
              </a:rPr>
              <a:t>Otras áreas de la Empresa|</a:t>
            </a:r>
            <a:endParaRPr lang="es-CO" sz="1200" dirty="0">
              <a:solidFill>
                <a:srgbClr val="000000"/>
              </a:solidFill>
              <a:latin typeface="+mj-lt"/>
            </a:endParaRPr>
          </a:p>
        </p:txBody>
      </p:sp>
      <p:pic>
        <p:nvPicPr>
          <p:cNvPr id="62" name="Picture 7"/>
          <p:cNvPicPr>
            <a:picLocks noChangeAspect="1" noChangeArrowheads="1"/>
          </p:cNvPicPr>
          <p:nvPr/>
        </p:nvPicPr>
        <p:blipFill>
          <a:blip r:embed="rId48" cstate="print"/>
          <a:srcRect/>
          <a:stretch>
            <a:fillRect/>
          </a:stretch>
        </p:blipFill>
        <p:spPr bwMode="auto">
          <a:xfrm>
            <a:off x="6528590" y="4808879"/>
            <a:ext cx="441446" cy="42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92229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8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7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0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3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6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9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2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5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8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1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4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7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0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3" dur="2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6" dur="2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9" dur="2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2" dur="2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  <p:bldP spid="7" grpId="0" animBg="1"/>
      <p:bldP spid="23" grpId="0" animBg="1"/>
      <p:bldP spid="39" grpId="0"/>
      <p:bldP spid="40" grpId="0" animBg="1"/>
      <p:bldP spid="42" grpId="0" animBg="1"/>
      <p:bldP spid="46" grpId="0" animBg="1"/>
      <p:bldP spid="59" grpId="0" animBg="1"/>
      <p:bldP spid="6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067145" y="494570"/>
            <a:ext cx="8911687" cy="8078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C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evo Modelo operativo</a:t>
            </a:r>
          </a:p>
        </p:txBody>
      </p:sp>
      <p:grpSp>
        <p:nvGrpSpPr>
          <p:cNvPr id="5" name="Group 45"/>
          <p:cNvGrpSpPr/>
          <p:nvPr>
            <p:custDataLst>
              <p:tags r:id="rId1"/>
            </p:custDataLst>
          </p:nvPr>
        </p:nvGrpSpPr>
        <p:grpSpPr>
          <a:xfrm>
            <a:off x="7368243" y="1894196"/>
            <a:ext cx="2880000" cy="1146585"/>
            <a:chOff x="5737563" y="2869250"/>
            <a:chExt cx="2880000" cy="1512000"/>
          </a:xfrm>
        </p:grpSpPr>
        <p:sp>
          <p:nvSpPr>
            <p:cNvPr id="6" name="Rounded Rectangle 16"/>
            <p:cNvSpPr/>
            <p:nvPr/>
          </p:nvSpPr>
          <p:spPr bwMode="auto">
            <a:xfrm>
              <a:off x="5737563" y="2869250"/>
              <a:ext cx="2880000" cy="1512000"/>
            </a:xfrm>
            <a:prstGeom prst="roundRect">
              <a:avLst>
                <a:gd name="adj" fmla="val 6899"/>
              </a:avLst>
            </a:prstGeom>
            <a:noFill/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entro de Cómputo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7" name="Picture 6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7771400" y="3362528"/>
              <a:ext cx="695325" cy="69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TextBox 25"/>
            <p:cNvSpPr txBox="1"/>
            <p:nvPr/>
          </p:nvSpPr>
          <p:spPr>
            <a:xfrm>
              <a:off x="5845939" y="3283984"/>
              <a:ext cx="1752597" cy="6828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050" b="0" dirty="0" smtClean="0">
                  <a:latin typeface="+mj-lt"/>
                </a:rPr>
                <a:t>recibe la solicitud aprobada y procede a otorgar el acceso.</a:t>
              </a:r>
              <a:endParaRPr lang="es-CO" sz="1050" b="0" dirty="0">
                <a:latin typeface="+mj-lt"/>
              </a:endParaRPr>
            </a:p>
          </p:txBody>
        </p:sp>
      </p:grpSp>
      <p:sp>
        <p:nvSpPr>
          <p:cNvPr id="10" name="Title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67145" y="1159146"/>
            <a:ext cx="7783552" cy="550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CO" sz="2000" b="1" dirty="0" smtClean="0">
                <a:solidFill>
                  <a:schemeClr val="accent1"/>
                </a:solidFill>
              </a:rPr>
              <a:t>Gestión de Accesos</a:t>
            </a:r>
            <a:endParaRPr lang="es-CO" sz="2000" b="1" dirty="0">
              <a:solidFill>
                <a:schemeClr val="accent1"/>
              </a:solidFill>
            </a:endParaRPr>
          </a:p>
        </p:txBody>
      </p:sp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2800244" y="3148825"/>
            <a:ext cx="440298" cy="579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2285084" y="2968519"/>
            <a:ext cx="440298" cy="579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ounded Rectangle 8"/>
          <p:cNvSpPr/>
          <p:nvPr>
            <p:custDataLst>
              <p:tags r:id="rId3"/>
            </p:custDataLst>
          </p:nvPr>
        </p:nvSpPr>
        <p:spPr bwMode="auto">
          <a:xfrm>
            <a:off x="2068580" y="1896951"/>
            <a:ext cx="1403780" cy="4422862"/>
          </a:xfrm>
          <a:prstGeom prst="roundRect">
            <a:avLst>
              <a:gd name="adj" fmla="val 6262"/>
            </a:avLst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Usuarios ó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clientes</a:t>
            </a:r>
          </a:p>
        </p:txBody>
      </p:sp>
      <p:pic>
        <p:nvPicPr>
          <p:cNvPr id="14" name="Picture 15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5033193" y="3083077"/>
            <a:ext cx="707922" cy="791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6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4815500" y="2253020"/>
            <a:ext cx="530942" cy="632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16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5366106" y="2302182"/>
            <a:ext cx="530942" cy="632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5371026" y="3958917"/>
            <a:ext cx="530942" cy="632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16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4830253" y="3904843"/>
            <a:ext cx="530942" cy="632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Rounded Rectangle 14"/>
          <p:cNvSpPr/>
          <p:nvPr>
            <p:custDataLst>
              <p:tags r:id="rId9"/>
            </p:custDataLst>
          </p:nvPr>
        </p:nvSpPr>
        <p:spPr bwMode="auto">
          <a:xfrm>
            <a:off x="4631457" y="1896950"/>
            <a:ext cx="1416676" cy="4422863"/>
          </a:xfrm>
          <a:prstGeom prst="roundRect">
            <a:avLst>
              <a:gd name="adj" fmla="val 8073"/>
            </a:avLst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Service Desk</a:t>
            </a:r>
          </a:p>
        </p:txBody>
      </p:sp>
      <p:grpSp>
        <p:nvGrpSpPr>
          <p:cNvPr id="20" name="Group 46"/>
          <p:cNvGrpSpPr/>
          <p:nvPr>
            <p:custDataLst>
              <p:tags r:id="rId10"/>
            </p:custDataLst>
          </p:nvPr>
        </p:nvGrpSpPr>
        <p:grpSpPr>
          <a:xfrm>
            <a:off x="7368243" y="3515573"/>
            <a:ext cx="2880000" cy="1132627"/>
            <a:chOff x="5737563" y="1249250"/>
            <a:chExt cx="2880000" cy="1512000"/>
          </a:xfrm>
        </p:grpSpPr>
        <p:sp>
          <p:nvSpPr>
            <p:cNvPr id="21" name="Rounded Rectangle 15"/>
            <p:cNvSpPr/>
            <p:nvPr/>
          </p:nvSpPr>
          <p:spPr bwMode="auto">
            <a:xfrm>
              <a:off x="5737563" y="1249250"/>
              <a:ext cx="2880000" cy="1512000"/>
            </a:xfrm>
            <a:prstGeom prst="roundRect">
              <a:avLst>
                <a:gd name="adj" fmla="val 6962"/>
              </a:avLst>
            </a:prstGeom>
            <a:noFill/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ontrol Tecnológico / Riesgo</a:t>
              </a:r>
            </a:p>
          </p:txBody>
        </p:sp>
        <p:pic>
          <p:nvPicPr>
            <p:cNvPr id="22" name="Picture 6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7771400" y="1741935"/>
              <a:ext cx="695325" cy="69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3" name="TextBox 21"/>
            <p:cNvSpPr txBox="1"/>
            <p:nvPr/>
          </p:nvSpPr>
          <p:spPr>
            <a:xfrm>
              <a:off x="5821251" y="1613084"/>
              <a:ext cx="189319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050" b="0" dirty="0" smtClean="0">
                  <a:latin typeface="+mj-lt"/>
                </a:rPr>
                <a:t>Analista de accesos / Oficial de riesgo analiza la solicitud y aprueba o rechaza.</a:t>
              </a:r>
              <a:endParaRPr lang="es-CO" sz="1050" b="0" dirty="0">
                <a:latin typeface="+mj-lt"/>
              </a:endParaRPr>
            </a:p>
          </p:txBody>
        </p:sp>
      </p:grpSp>
      <p:grpSp>
        <p:nvGrpSpPr>
          <p:cNvPr id="24" name="Group 47"/>
          <p:cNvGrpSpPr/>
          <p:nvPr>
            <p:custDataLst>
              <p:tags r:id="rId11"/>
            </p:custDataLst>
          </p:nvPr>
        </p:nvGrpSpPr>
        <p:grpSpPr>
          <a:xfrm>
            <a:off x="7368243" y="5135263"/>
            <a:ext cx="2880000" cy="1184550"/>
            <a:chOff x="5737563" y="4243718"/>
            <a:chExt cx="2880000" cy="1512000"/>
          </a:xfrm>
        </p:grpSpPr>
        <p:sp>
          <p:nvSpPr>
            <p:cNvPr id="25" name="Rounded Rectangle 17"/>
            <p:cNvSpPr/>
            <p:nvPr/>
          </p:nvSpPr>
          <p:spPr bwMode="auto">
            <a:xfrm>
              <a:off x="5737563" y="4243718"/>
              <a:ext cx="2880000" cy="1512000"/>
            </a:xfrm>
            <a:prstGeom prst="roundRect">
              <a:avLst>
                <a:gd name="adj" fmla="val 9180"/>
              </a:avLst>
            </a:prstGeom>
            <a:noFill/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Infraestructura y Networking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26" name="Picture 6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7782782" y="4788411"/>
              <a:ext cx="695325" cy="695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7" name="TextBox 26"/>
            <p:cNvSpPr txBox="1"/>
            <p:nvPr/>
          </p:nvSpPr>
          <p:spPr>
            <a:xfrm>
              <a:off x="5840061" y="4751071"/>
              <a:ext cx="1780501" cy="7366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1050" b="0" dirty="0" smtClean="0">
                  <a:latin typeface="+mj-lt"/>
                </a:rPr>
                <a:t>Técnico de servidores recibe la solicitud aprobada y procede a otorgar el acceso.</a:t>
              </a:r>
              <a:endParaRPr lang="es-CO" sz="1050" b="0" dirty="0">
                <a:latin typeface="+mj-lt"/>
              </a:endParaRPr>
            </a:p>
          </p:txBody>
        </p:sp>
      </p:grpSp>
      <p:cxnSp>
        <p:nvCxnSpPr>
          <p:cNvPr id="28" name="Straight Arrow Connector 28"/>
          <p:cNvCxnSpPr/>
          <p:nvPr>
            <p:custDataLst>
              <p:tags r:id="rId12"/>
            </p:custDataLst>
          </p:nvPr>
        </p:nvCxnSpPr>
        <p:spPr bwMode="auto">
          <a:xfrm flipV="1">
            <a:off x="3484881" y="4077668"/>
            <a:ext cx="1159097" cy="1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9" name="Straight Arrow Connector 30"/>
          <p:cNvCxnSpPr>
            <a:endCxn id="21" idx="1"/>
          </p:cNvCxnSpPr>
          <p:nvPr>
            <p:custDataLst>
              <p:tags r:id="rId13"/>
            </p:custDataLst>
          </p:nvPr>
        </p:nvCxnSpPr>
        <p:spPr bwMode="auto">
          <a:xfrm>
            <a:off x="6142851" y="4081886"/>
            <a:ext cx="1225392" cy="1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0" name="Straight Arrow Connector 32"/>
          <p:cNvCxnSpPr>
            <a:stCxn id="21" idx="0"/>
            <a:endCxn id="6" idx="2"/>
          </p:cNvCxnSpPr>
          <p:nvPr>
            <p:custDataLst>
              <p:tags r:id="rId14"/>
            </p:custDataLst>
          </p:nvPr>
        </p:nvCxnSpPr>
        <p:spPr bwMode="auto">
          <a:xfrm flipV="1">
            <a:off x="8808243" y="3040781"/>
            <a:ext cx="0" cy="474792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1" name="Straight Arrow Connector 34"/>
          <p:cNvCxnSpPr>
            <a:stCxn id="21" idx="2"/>
            <a:endCxn id="25" idx="0"/>
          </p:cNvCxnSpPr>
          <p:nvPr>
            <p:custDataLst>
              <p:tags r:id="rId15"/>
            </p:custDataLst>
          </p:nvPr>
        </p:nvCxnSpPr>
        <p:spPr bwMode="auto">
          <a:xfrm>
            <a:off x="8808243" y="4648200"/>
            <a:ext cx="0" cy="487063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2" name="TextBox 35"/>
          <p:cNvSpPr txBox="1"/>
          <p:nvPr/>
        </p:nvSpPr>
        <p:spPr>
          <a:xfrm>
            <a:off x="3299483" y="3474062"/>
            <a:ext cx="16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00" b="0" dirty="0" smtClean="0">
                <a:latin typeface="+mj-lt"/>
              </a:rPr>
              <a:t>Único punto </a:t>
            </a:r>
          </a:p>
          <a:p>
            <a:pPr algn="ctr"/>
            <a:r>
              <a:rPr lang="es-CO" sz="1000" b="0" dirty="0" smtClean="0">
                <a:latin typeface="+mj-lt"/>
              </a:rPr>
              <a:t>de contacto</a:t>
            </a:r>
            <a:endParaRPr lang="es-CO" sz="1000" b="0" dirty="0">
              <a:latin typeface="+mj-lt"/>
            </a:endParaRPr>
          </a:p>
        </p:txBody>
      </p:sp>
      <p:sp>
        <p:nvSpPr>
          <p:cNvPr id="33" name="TextBox 54"/>
          <p:cNvSpPr txBox="1"/>
          <p:nvPr/>
        </p:nvSpPr>
        <p:spPr>
          <a:xfrm>
            <a:off x="6005155" y="3502658"/>
            <a:ext cx="13780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00" b="0" dirty="0" smtClean="0">
                <a:latin typeface="+mj-lt"/>
              </a:rPr>
              <a:t>Re direcciona </a:t>
            </a:r>
          </a:p>
          <a:p>
            <a:pPr algn="ctr"/>
            <a:r>
              <a:rPr lang="es-CO" sz="1000" b="0" dirty="0" smtClean="0">
                <a:latin typeface="+mj-lt"/>
              </a:rPr>
              <a:t>a Control Tecnológico</a:t>
            </a:r>
            <a:endParaRPr lang="es-CO" sz="1000" b="0" dirty="0">
              <a:latin typeface="+mj-lt"/>
            </a:endParaRPr>
          </a:p>
        </p:txBody>
      </p:sp>
      <p:pic>
        <p:nvPicPr>
          <p:cNvPr id="34" name="Picture 4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2810975" y="4151239"/>
            <a:ext cx="440298" cy="579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5" name="Picture 5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2295815" y="3958054"/>
            <a:ext cx="440298" cy="5797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" name="TextBox 58"/>
          <p:cNvSpPr txBox="1"/>
          <p:nvPr/>
        </p:nvSpPr>
        <p:spPr>
          <a:xfrm>
            <a:off x="2067145" y="4833260"/>
            <a:ext cx="143170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50" b="0" dirty="0" smtClean="0">
                <a:latin typeface="+mj-lt"/>
              </a:rPr>
              <a:t>Usuarios o clientes solicitan el</a:t>
            </a:r>
            <a:endParaRPr lang="es-CO" sz="1050" b="0" dirty="0">
              <a:latin typeface="+mj-lt"/>
            </a:endParaRPr>
          </a:p>
        </p:txBody>
      </p:sp>
      <p:sp>
        <p:nvSpPr>
          <p:cNvPr id="37" name="TextBox 61"/>
          <p:cNvSpPr txBox="1"/>
          <p:nvPr/>
        </p:nvSpPr>
        <p:spPr>
          <a:xfrm>
            <a:off x="7368243" y="3140753"/>
            <a:ext cx="1584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00" b="0" dirty="0" smtClean="0">
                <a:latin typeface="+mj-lt"/>
              </a:rPr>
              <a:t>Re direcciona la otorgación </a:t>
            </a:r>
            <a:endParaRPr lang="es-CO" sz="1000" b="0" dirty="0">
              <a:latin typeface="+mj-lt"/>
            </a:endParaRPr>
          </a:p>
        </p:txBody>
      </p:sp>
      <p:sp>
        <p:nvSpPr>
          <p:cNvPr id="38" name="TextBox 62"/>
          <p:cNvSpPr txBox="1"/>
          <p:nvPr>
            <p:custDataLst>
              <p:tags r:id="rId18"/>
            </p:custDataLst>
          </p:nvPr>
        </p:nvSpPr>
        <p:spPr>
          <a:xfrm>
            <a:off x="7224243" y="4767905"/>
            <a:ext cx="1584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00" b="0" dirty="0" smtClean="0">
                <a:latin typeface="+mj-lt"/>
              </a:rPr>
              <a:t>Re direcciona la otorgación </a:t>
            </a:r>
            <a:endParaRPr lang="es-CO" sz="1000" b="0" dirty="0">
              <a:latin typeface="+mj-lt"/>
            </a:endParaRPr>
          </a:p>
        </p:txBody>
      </p:sp>
      <p:sp>
        <p:nvSpPr>
          <p:cNvPr id="39" name="TextBox 63"/>
          <p:cNvSpPr txBox="1"/>
          <p:nvPr/>
        </p:nvSpPr>
        <p:spPr>
          <a:xfrm>
            <a:off x="4623944" y="4721738"/>
            <a:ext cx="143170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50" b="0" dirty="0" smtClean="0">
                <a:latin typeface="+mj-lt"/>
              </a:rPr>
              <a:t>El analista de primera línea valida que la documentación este completa y re direccionan a Control Tecnológico</a:t>
            </a:r>
            <a:endParaRPr lang="es-CO" sz="1050" b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455438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8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7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0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3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6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9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2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5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8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1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4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7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0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3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0" grpId="0"/>
      <p:bldP spid="13" grpId="0" animBg="1"/>
      <p:bldP spid="19" grpId="0" animBg="1"/>
      <p:bldP spid="32" grpId="0"/>
      <p:bldP spid="33" grpId="0"/>
      <p:bldP spid="36" grpId="0"/>
      <p:bldP spid="37" grpId="0"/>
      <p:bldP spid="38" grpId="0"/>
      <p:bldP spid="39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128105" y="517430"/>
            <a:ext cx="8911687" cy="8078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C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evo Modelo operativo</a:t>
            </a:r>
          </a:p>
        </p:txBody>
      </p:sp>
      <p:sp>
        <p:nvSpPr>
          <p:cNvPr id="5" name="Oval 98"/>
          <p:cNvSpPr/>
          <p:nvPr>
            <p:custDataLst>
              <p:tags r:id="rId1"/>
            </p:custDataLst>
          </p:nvPr>
        </p:nvSpPr>
        <p:spPr bwMode="auto">
          <a:xfrm>
            <a:off x="3164661" y="2424410"/>
            <a:ext cx="5460643" cy="3348505"/>
          </a:xfrm>
          <a:prstGeom prst="ellipse">
            <a:avLst/>
          </a:prstGeom>
          <a:noFill/>
          <a:ln w="9525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20000"/>
              </a:spcBef>
              <a:buSzPct val="100000"/>
            </a:pPr>
            <a:endParaRPr lang="es-CO" dirty="0" smtClean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7" name="Title 3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069962" y="1118299"/>
            <a:ext cx="7783552" cy="550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CO" sz="2000" b="1" dirty="0" smtClean="0">
                <a:solidFill>
                  <a:schemeClr val="accent1"/>
                </a:solidFill>
              </a:rPr>
              <a:t>Administrar el Desempeño y la Capacidad</a:t>
            </a:r>
            <a:endParaRPr lang="es-CO" sz="2000" b="1" dirty="0">
              <a:solidFill>
                <a:schemeClr val="accent1"/>
              </a:solidFill>
            </a:endParaRPr>
          </a:p>
        </p:txBody>
      </p:sp>
      <p:sp>
        <p:nvSpPr>
          <p:cNvPr id="8" name="TextBox 48"/>
          <p:cNvSpPr txBox="1"/>
          <p:nvPr>
            <p:custDataLst>
              <p:tags r:id="rId3"/>
            </p:custDataLst>
          </p:nvPr>
        </p:nvSpPr>
        <p:spPr>
          <a:xfrm>
            <a:off x="7564947" y="1713925"/>
            <a:ext cx="2196000" cy="1980000"/>
          </a:xfrm>
          <a:prstGeom prst="roundRect">
            <a:avLst>
              <a:gd name="adj" fmla="val 7143"/>
            </a:avLst>
          </a:prstGeom>
          <a:solidFill>
            <a:schemeClr val="bg1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noAutofit/>
          </a:bodyPr>
          <a:lstStyle/>
          <a:p>
            <a:pPr algn="ctr"/>
            <a:r>
              <a:rPr lang="es-CO" sz="1200" dirty="0" smtClean="0">
                <a:latin typeface="+mj-lt"/>
              </a:rPr>
              <a:t>Informe de KPIs</a:t>
            </a:r>
          </a:p>
          <a:p>
            <a:pPr algn="ctr"/>
            <a:endParaRPr lang="es-CO" sz="700" dirty="0" smtClean="0">
              <a:latin typeface="+mj-lt"/>
            </a:endParaRPr>
          </a:p>
          <a:p>
            <a:pPr>
              <a:buFont typeface="Arial" pitchFamily="34" charset="0"/>
              <a:buChar char="•"/>
            </a:pPr>
            <a:r>
              <a:rPr lang="es-CO" sz="1000" b="0" dirty="0" smtClean="0">
                <a:latin typeface="+mj-lt"/>
              </a:rPr>
              <a:t> Consumo en disco</a:t>
            </a:r>
          </a:p>
          <a:p>
            <a:pPr>
              <a:buFont typeface="Arial" pitchFamily="34" charset="0"/>
              <a:buChar char="•"/>
            </a:pPr>
            <a:r>
              <a:rPr lang="es-CO" sz="1000" b="0" dirty="0" smtClean="0">
                <a:latin typeface="+mj-lt"/>
              </a:rPr>
              <a:t> Consumo de memoria RAM</a:t>
            </a:r>
          </a:p>
          <a:p>
            <a:pPr>
              <a:buFont typeface="Arial" pitchFamily="34" charset="0"/>
              <a:buChar char="•"/>
            </a:pPr>
            <a:r>
              <a:rPr lang="es-CO" sz="1000" b="0" dirty="0" smtClean="0">
                <a:latin typeface="+mj-lt"/>
              </a:rPr>
              <a:t> Consumo de CPU (para servidores centrales y distribuidos)</a:t>
            </a:r>
          </a:p>
          <a:p>
            <a:pPr>
              <a:buFont typeface="Arial" pitchFamily="34" charset="0"/>
              <a:buChar char="•"/>
            </a:pPr>
            <a:r>
              <a:rPr lang="es-CO" sz="1000" b="0" dirty="0" smtClean="0">
                <a:latin typeface="+mj-lt"/>
              </a:rPr>
              <a:t> Ancho de banda para los equipos de comunicación</a:t>
            </a:r>
          </a:p>
          <a:p>
            <a:pPr>
              <a:buFont typeface="Arial" pitchFamily="34" charset="0"/>
              <a:buChar char="•"/>
            </a:pPr>
            <a:r>
              <a:rPr lang="es-CO" sz="1000" b="0" dirty="0" smtClean="0">
                <a:latin typeface="+mj-lt"/>
              </a:rPr>
              <a:t> Disponibilidad de los sistemas y servicios</a:t>
            </a:r>
            <a:endParaRPr lang="es-CO" sz="1000" b="0" dirty="0">
              <a:latin typeface="+mj-lt"/>
            </a:endParaRPr>
          </a:p>
        </p:txBody>
      </p:sp>
      <p:grpSp>
        <p:nvGrpSpPr>
          <p:cNvPr id="9" name="Group 87"/>
          <p:cNvGrpSpPr/>
          <p:nvPr>
            <p:custDataLst>
              <p:tags r:id="rId4"/>
            </p:custDataLst>
          </p:nvPr>
        </p:nvGrpSpPr>
        <p:grpSpPr>
          <a:xfrm>
            <a:off x="2069962" y="1713925"/>
            <a:ext cx="2196000" cy="1980000"/>
            <a:chOff x="412126" y="1043188"/>
            <a:chExt cx="2196000" cy="1980000"/>
          </a:xfrm>
          <a:solidFill>
            <a:schemeClr val="bg1"/>
          </a:solidFill>
        </p:grpSpPr>
        <p:sp>
          <p:nvSpPr>
            <p:cNvPr id="10" name="TextBox 32"/>
            <p:cNvSpPr txBox="1"/>
            <p:nvPr/>
          </p:nvSpPr>
          <p:spPr>
            <a:xfrm>
              <a:off x="412126" y="1043188"/>
              <a:ext cx="2196000" cy="1980000"/>
            </a:xfrm>
            <a:prstGeom prst="roundRect">
              <a:avLst>
                <a:gd name="adj" fmla="val 7143"/>
              </a:avLst>
            </a:prstGeom>
            <a:grpFill/>
            <a:ln>
              <a:solidFill>
                <a:schemeClr val="tx1"/>
              </a:solidFill>
              <a:prstDash val="dash"/>
            </a:ln>
          </p:spPr>
          <p:txBody>
            <a:bodyPr wrap="square" rtlCol="0">
              <a:noAutofit/>
            </a:bodyPr>
            <a:lstStyle/>
            <a:p>
              <a:pPr algn="ctr"/>
              <a:r>
                <a:rPr lang="es-CO" sz="1200" dirty="0" smtClean="0">
                  <a:latin typeface="+mj-lt"/>
                </a:rPr>
                <a:t>Capacidad Instalada</a:t>
              </a:r>
              <a:endParaRPr lang="es-CO" sz="1200" dirty="0">
                <a:latin typeface="+mj-lt"/>
              </a:endParaRPr>
            </a:p>
          </p:txBody>
        </p:sp>
        <p:pic>
          <p:nvPicPr>
            <p:cNvPr id="11" name="Picture 4"/>
            <p:cNvPicPr>
              <a:picLocks noChangeAspect="1" noChangeArrowheads="1"/>
            </p:cNvPicPr>
            <p:nvPr>
              <p:custDataLst>
                <p:tags r:id="rId26"/>
              </p:custDataLst>
            </p:nvPr>
          </p:nvPicPr>
          <p:blipFill>
            <a:blip r:embed="rId29" cstate="print"/>
            <a:srcRect/>
            <a:stretch>
              <a:fillRect/>
            </a:stretch>
          </p:blipFill>
          <p:spPr bwMode="auto">
            <a:xfrm>
              <a:off x="553806" y="1756091"/>
              <a:ext cx="954734" cy="7191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8"/>
            <p:cNvPicPr>
              <a:picLocks noChangeAspect="1" noChangeArrowheads="1"/>
            </p:cNvPicPr>
            <p:nvPr>
              <p:custDataLst>
                <p:tags r:id="rId27"/>
              </p:custDataLst>
            </p:nvPr>
          </p:nvPicPr>
          <p:blipFill>
            <a:blip r:embed="rId30" cstate="print"/>
            <a:srcRect/>
            <a:stretch>
              <a:fillRect/>
            </a:stretch>
          </p:blipFill>
          <p:spPr bwMode="auto">
            <a:xfrm>
              <a:off x="1679459" y="1517488"/>
              <a:ext cx="748025" cy="119995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3" name="Group 85"/>
          <p:cNvGrpSpPr/>
          <p:nvPr>
            <p:custDataLst>
              <p:tags r:id="rId5"/>
            </p:custDataLst>
          </p:nvPr>
        </p:nvGrpSpPr>
        <p:grpSpPr>
          <a:xfrm>
            <a:off x="4832479" y="4774811"/>
            <a:ext cx="2196000" cy="1980000"/>
            <a:chOff x="3174643" y="3445097"/>
            <a:chExt cx="2196000" cy="1980000"/>
          </a:xfrm>
          <a:solidFill>
            <a:schemeClr val="bg1"/>
          </a:solidFill>
        </p:grpSpPr>
        <p:sp>
          <p:nvSpPr>
            <p:cNvPr id="14" name="TextBox 63"/>
            <p:cNvSpPr txBox="1"/>
            <p:nvPr/>
          </p:nvSpPr>
          <p:spPr>
            <a:xfrm>
              <a:off x="3174643" y="3445097"/>
              <a:ext cx="2196000" cy="1980000"/>
            </a:xfrm>
            <a:prstGeom prst="roundRect">
              <a:avLst>
                <a:gd name="adj" fmla="val 7143"/>
              </a:avLst>
            </a:prstGeom>
            <a:grpFill/>
            <a:ln>
              <a:solidFill>
                <a:schemeClr val="tx1"/>
              </a:solidFill>
              <a:prstDash val="dash"/>
            </a:ln>
          </p:spPr>
          <p:txBody>
            <a:bodyPr wrap="square" rtlCol="0">
              <a:noAutofit/>
            </a:bodyPr>
            <a:lstStyle/>
            <a:p>
              <a:pPr algn="ctr"/>
              <a:r>
                <a:rPr lang="es-CO" sz="1200" dirty="0" smtClean="0">
                  <a:latin typeface="+mj-lt"/>
                </a:rPr>
                <a:t>Actualizar Capacidad</a:t>
              </a:r>
            </a:p>
            <a:p>
              <a:pPr algn="ctr"/>
              <a:endParaRPr lang="es-CO" sz="700" dirty="0" smtClean="0">
                <a:latin typeface="+mj-lt"/>
              </a:endParaRPr>
            </a:p>
            <a:p>
              <a:r>
                <a:rPr lang="es-CO" sz="1000" b="0" dirty="0" smtClean="0">
                  <a:latin typeface="+mj-lt"/>
                </a:rPr>
                <a:t>Aumentar la capacidad de la infraestructura según se requiera.</a:t>
              </a:r>
              <a:endParaRPr lang="es-CO" sz="1000" dirty="0" smtClean="0">
                <a:latin typeface="+mj-lt"/>
              </a:endParaRPr>
            </a:p>
          </p:txBody>
        </p:sp>
        <p:pic>
          <p:nvPicPr>
            <p:cNvPr id="15" name="Picture 4"/>
            <p:cNvPicPr>
              <a:picLocks noChangeAspect="1" noChangeArrowheads="1"/>
            </p:cNvPicPr>
            <p:nvPr>
              <p:custDataLst>
                <p:tags r:id="rId25"/>
              </p:custDataLst>
            </p:nvPr>
          </p:nvPicPr>
          <p:blipFill>
            <a:blip r:embed="rId29" cstate="print"/>
            <a:srcRect/>
            <a:stretch>
              <a:fillRect/>
            </a:stretch>
          </p:blipFill>
          <p:spPr bwMode="auto">
            <a:xfrm>
              <a:off x="3372133" y="4381234"/>
              <a:ext cx="954734" cy="71915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  <p:sp>
          <p:nvSpPr>
            <p:cNvPr id="16" name="Plus 74"/>
            <p:cNvSpPr/>
            <p:nvPr/>
          </p:nvSpPr>
          <p:spPr bwMode="auto">
            <a:xfrm>
              <a:off x="4520484" y="4560505"/>
              <a:ext cx="360609" cy="360609"/>
            </a:xfrm>
            <a:prstGeom prst="mathPlus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17" name="Plus 75"/>
            <p:cNvSpPr/>
            <p:nvPr/>
          </p:nvSpPr>
          <p:spPr bwMode="auto">
            <a:xfrm>
              <a:off x="4878946" y="4560505"/>
              <a:ext cx="360609" cy="360609"/>
            </a:xfrm>
            <a:prstGeom prst="mathPlus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</p:grpSp>
      <p:grpSp>
        <p:nvGrpSpPr>
          <p:cNvPr id="18" name="Group 86"/>
          <p:cNvGrpSpPr/>
          <p:nvPr>
            <p:custDataLst>
              <p:tags r:id="rId6"/>
            </p:custDataLst>
          </p:nvPr>
        </p:nvGrpSpPr>
        <p:grpSpPr>
          <a:xfrm>
            <a:off x="2069962" y="4480742"/>
            <a:ext cx="2196000" cy="1980000"/>
            <a:chOff x="515159" y="3419347"/>
            <a:chExt cx="2196000" cy="1980000"/>
          </a:xfrm>
          <a:solidFill>
            <a:schemeClr val="bg1"/>
          </a:solidFill>
        </p:grpSpPr>
        <p:sp>
          <p:nvSpPr>
            <p:cNvPr id="19" name="TextBox 76"/>
            <p:cNvSpPr txBox="1"/>
            <p:nvPr/>
          </p:nvSpPr>
          <p:spPr>
            <a:xfrm>
              <a:off x="515159" y="3419347"/>
              <a:ext cx="2196000" cy="1980000"/>
            </a:xfrm>
            <a:prstGeom prst="roundRect">
              <a:avLst>
                <a:gd name="adj" fmla="val 7143"/>
              </a:avLst>
            </a:prstGeom>
            <a:grpFill/>
            <a:ln>
              <a:solidFill>
                <a:schemeClr val="tx1"/>
              </a:solidFill>
              <a:prstDash val="dash"/>
            </a:ln>
          </p:spPr>
          <p:txBody>
            <a:bodyPr wrap="square" rtlCol="0">
              <a:noAutofit/>
            </a:bodyPr>
            <a:lstStyle/>
            <a:p>
              <a:pPr algn="ctr"/>
              <a:r>
                <a:rPr lang="es-CO" sz="1200" dirty="0" smtClean="0">
                  <a:latin typeface="+mj-lt"/>
                </a:rPr>
                <a:t>Actualizar Plan de Capacidad</a:t>
              </a:r>
            </a:p>
            <a:p>
              <a:endParaRPr lang="es-CO" sz="700" dirty="0" smtClean="0">
                <a:latin typeface="+mj-lt"/>
              </a:endParaRPr>
            </a:p>
            <a:p>
              <a:r>
                <a:rPr lang="es-CO" sz="1000" b="0" dirty="0" smtClean="0">
                  <a:latin typeface="+mj-lt"/>
                </a:rPr>
                <a:t>Actualizar el </a:t>
              </a:r>
              <a:r>
                <a:rPr lang="es-CO" sz="1000" dirty="0" smtClean="0">
                  <a:latin typeface="+mj-lt"/>
                </a:rPr>
                <a:t>plan de capacidad anual </a:t>
              </a:r>
              <a:r>
                <a:rPr lang="es-CO" sz="1000" b="0" dirty="0" smtClean="0">
                  <a:latin typeface="+mj-lt"/>
                </a:rPr>
                <a:t>si hubo cambios no planeados en la capacidad instalada.</a:t>
              </a:r>
              <a:endParaRPr lang="es-CO" sz="1000" dirty="0" smtClean="0">
                <a:latin typeface="+mj-lt"/>
              </a:endParaRPr>
            </a:p>
          </p:txBody>
        </p:sp>
        <p:grpSp>
          <p:nvGrpSpPr>
            <p:cNvPr id="20" name="Group 77"/>
            <p:cNvGrpSpPr/>
            <p:nvPr/>
          </p:nvGrpSpPr>
          <p:grpSpPr>
            <a:xfrm>
              <a:off x="725515" y="4286523"/>
              <a:ext cx="1852954" cy="940157"/>
              <a:chOff x="927279" y="3438659"/>
              <a:chExt cx="2498501" cy="1764406"/>
            </a:xfrm>
            <a:grpFill/>
          </p:grpSpPr>
          <p:cxnSp>
            <p:nvCxnSpPr>
              <p:cNvPr id="21" name="Straight Arrow Connector 78"/>
              <p:cNvCxnSpPr/>
              <p:nvPr/>
            </p:nvCxnSpPr>
            <p:spPr bwMode="auto">
              <a:xfrm flipV="1">
                <a:off x="940158" y="3438659"/>
                <a:ext cx="0" cy="1764406"/>
              </a:xfrm>
              <a:prstGeom prst="straightConnector1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cxnSp>
            <p:nvCxnSpPr>
              <p:cNvPr id="22" name="Straight Arrow Connector 79"/>
              <p:cNvCxnSpPr/>
              <p:nvPr/>
            </p:nvCxnSpPr>
            <p:spPr bwMode="auto">
              <a:xfrm>
                <a:off x="927279" y="5203065"/>
                <a:ext cx="2498501" cy="0"/>
              </a:xfrm>
              <a:prstGeom prst="straightConnector1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</p:spPr>
          </p:cxnSp>
          <p:sp>
            <p:nvSpPr>
              <p:cNvPr id="23" name="Freeform 80"/>
              <p:cNvSpPr/>
              <p:nvPr/>
            </p:nvSpPr>
            <p:spPr bwMode="auto">
              <a:xfrm>
                <a:off x="940157" y="3607841"/>
                <a:ext cx="2421228" cy="1195981"/>
              </a:xfrm>
              <a:custGeom>
                <a:avLst/>
                <a:gdLst>
                  <a:gd name="connsiteX0" fmla="*/ 0 w 2421228"/>
                  <a:gd name="connsiteY0" fmla="*/ 978795 h 978795"/>
                  <a:gd name="connsiteX1" fmla="*/ 309093 w 2421228"/>
                  <a:gd name="connsiteY1" fmla="*/ 618186 h 978795"/>
                  <a:gd name="connsiteX2" fmla="*/ 1017431 w 2421228"/>
                  <a:gd name="connsiteY2" fmla="*/ 540913 h 978795"/>
                  <a:gd name="connsiteX3" fmla="*/ 1442434 w 2421228"/>
                  <a:gd name="connsiteY3" fmla="*/ 386367 h 978795"/>
                  <a:gd name="connsiteX4" fmla="*/ 1970467 w 2421228"/>
                  <a:gd name="connsiteY4" fmla="*/ 244699 h 978795"/>
                  <a:gd name="connsiteX5" fmla="*/ 2421228 w 2421228"/>
                  <a:gd name="connsiteY5" fmla="*/ 0 h 9787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21228" h="978795">
                    <a:moveTo>
                      <a:pt x="0" y="978795"/>
                    </a:moveTo>
                    <a:cubicBezTo>
                      <a:pt x="69760" y="834980"/>
                      <a:pt x="139521" y="691166"/>
                      <a:pt x="309093" y="618186"/>
                    </a:cubicBezTo>
                    <a:cubicBezTo>
                      <a:pt x="478665" y="545206"/>
                      <a:pt x="828541" y="579550"/>
                      <a:pt x="1017431" y="540913"/>
                    </a:cubicBezTo>
                    <a:cubicBezTo>
                      <a:pt x="1206321" y="502276"/>
                      <a:pt x="1283595" y="435736"/>
                      <a:pt x="1442434" y="386367"/>
                    </a:cubicBezTo>
                    <a:cubicBezTo>
                      <a:pt x="1601273" y="336998"/>
                      <a:pt x="1807335" y="309093"/>
                      <a:pt x="1970467" y="244699"/>
                    </a:cubicBezTo>
                    <a:cubicBezTo>
                      <a:pt x="2133599" y="180305"/>
                      <a:pt x="2277413" y="90152"/>
                      <a:pt x="2421228" y="0"/>
                    </a:cubicBezTo>
                  </a:path>
                </a:pathLst>
              </a:custGeom>
              <a:grpFill/>
              <a:ln w="28575" cap="flat" cmpd="sng" algn="ctr">
                <a:solidFill>
                  <a:srgbClr val="66CC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endParaRPr kumimoji="0" lang="es-CO" sz="1400" b="1" i="0" u="none" strike="noStrike" cap="none" normalizeH="0" baseline="0" dirty="0" smtClean="0">
                  <a:ln>
                    <a:noFill/>
                  </a:ln>
                  <a:solidFill>
                    <a:srgbClr val="66CC00"/>
                  </a:solidFill>
                  <a:effectLst/>
                  <a:latin typeface="+mj-lt"/>
                </a:endParaRPr>
              </a:p>
            </p:txBody>
          </p:sp>
          <p:sp>
            <p:nvSpPr>
              <p:cNvPr id="24" name="TextBox 83"/>
              <p:cNvSpPr txBox="1"/>
              <p:nvPr/>
            </p:nvSpPr>
            <p:spPr>
              <a:xfrm>
                <a:off x="1520599" y="4380434"/>
                <a:ext cx="1655126" cy="462086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CO" sz="1000" dirty="0" smtClean="0">
                    <a:solidFill>
                      <a:srgbClr val="66CC00"/>
                    </a:solidFill>
                    <a:latin typeface="+mj-lt"/>
                  </a:rPr>
                  <a:t>Nueva proyección</a:t>
                </a:r>
                <a:endParaRPr lang="es-CO" sz="1000" dirty="0">
                  <a:solidFill>
                    <a:srgbClr val="66CC00"/>
                  </a:solidFill>
                  <a:latin typeface="+mj-lt"/>
                </a:endParaRPr>
              </a:p>
            </p:txBody>
          </p:sp>
        </p:grpSp>
      </p:grpSp>
      <p:sp>
        <p:nvSpPr>
          <p:cNvPr id="25" name="Right Arrow 88"/>
          <p:cNvSpPr/>
          <p:nvPr>
            <p:custDataLst>
              <p:tags r:id="rId7"/>
            </p:custDataLst>
          </p:nvPr>
        </p:nvSpPr>
        <p:spPr bwMode="auto">
          <a:xfrm>
            <a:off x="4528751" y="2384700"/>
            <a:ext cx="128788" cy="450761"/>
          </a:xfrm>
          <a:prstGeom prst="rightArrow">
            <a:avLst>
              <a:gd name="adj1" fmla="val 50000"/>
              <a:gd name="adj2" fmla="val 180000"/>
            </a:avLst>
          </a:prstGeom>
          <a:solidFill>
            <a:srgbClr val="FF9900"/>
          </a:solidFill>
          <a:ln w="9525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Right Arrow 89"/>
          <p:cNvSpPr/>
          <p:nvPr>
            <p:custDataLst>
              <p:tags r:id="rId8"/>
            </p:custDataLst>
          </p:nvPr>
        </p:nvSpPr>
        <p:spPr bwMode="auto">
          <a:xfrm>
            <a:off x="7231168" y="2449095"/>
            <a:ext cx="128788" cy="450761"/>
          </a:xfrm>
          <a:prstGeom prst="rightArrow">
            <a:avLst>
              <a:gd name="adj1" fmla="val 50000"/>
              <a:gd name="adj2" fmla="val 180000"/>
            </a:avLst>
          </a:prstGeom>
          <a:solidFill>
            <a:srgbClr val="FF9900"/>
          </a:solidFill>
          <a:ln w="9525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Right Arrow 90"/>
          <p:cNvSpPr/>
          <p:nvPr>
            <p:custDataLst>
              <p:tags r:id="rId9"/>
            </p:custDataLst>
          </p:nvPr>
        </p:nvSpPr>
        <p:spPr bwMode="auto">
          <a:xfrm flipH="1">
            <a:off x="4528751" y="5318937"/>
            <a:ext cx="128788" cy="450761"/>
          </a:xfrm>
          <a:prstGeom prst="rightArrow">
            <a:avLst>
              <a:gd name="adj1" fmla="val 50000"/>
              <a:gd name="adj2" fmla="val 180000"/>
            </a:avLst>
          </a:prstGeom>
          <a:solidFill>
            <a:srgbClr val="FF9900"/>
          </a:solidFill>
          <a:ln w="9525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Right Arrow 91"/>
          <p:cNvSpPr/>
          <p:nvPr>
            <p:custDataLst>
              <p:tags r:id="rId10"/>
            </p:custDataLst>
          </p:nvPr>
        </p:nvSpPr>
        <p:spPr bwMode="auto">
          <a:xfrm flipH="1">
            <a:off x="7231168" y="5318937"/>
            <a:ext cx="128788" cy="450761"/>
          </a:xfrm>
          <a:prstGeom prst="rightArrow">
            <a:avLst>
              <a:gd name="adj1" fmla="val 50000"/>
              <a:gd name="adj2" fmla="val 180000"/>
            </a:avLst>
          </a:prstGeom>
          <a:solidFill>
            <a:srgbClr val="FF9900"/>
          </a:solidFill>
          <a:ln w="9525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Right Arrow 92"/>
          <p:cNvSpPr/>
          <p:nvPr>
            <p:custDataLst>
              <p:tags r:id="rId11"/>
            </p:custDataLst>
          </p:nvPr>
        </p:nvSpPr>
        <p:spPr bwMode="auto">
          <a:xfrm rot="5400000">
            <a:off x="8557694" y="3868992"/>
            <a:ext cx="128788" cy="450761"/>
          </a:xfrm>
          <a:prstGeom prst="rightArrow">
            <a:avLst>
              <a:gd name="adj1" fmla="val 50000"/>
              <a:gd name="adj2" fmla="val 180000"/>
            </a:avLst>
          </a:prstGeom>
          <a:solidFill>
            <a:srgbClr val="FF9900"/>
          </a:solidFill>
          <a:ln w="9525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Right Arrow 93"/>
          <p:cNvSpPr/>
          <p:nvPr>
            <p:custDataLst>
              <p:tags r:id="rId12"/>
            </p:custDataLst>
          </p:nvPr>
        </p:nvSpPr>
        <p:spPr bwMode="auto">
          <a:xfrm rot="16200000" flipV="1">
            <a:off x="3107784" y="3868992"/>
            <a:ext cx="128788" cy="450761"/>
          </a:xfrm>
          <a:prstGeom prst="rightArrow">
            <a:avLst>
              <a:gd name="adj1" fmla="val 50000"/>
              <a:gd name="adj2" fmla="val 180000"/>
            </a:avLst>
          </a:prstGeom>
          <a:solidFill>
            <a:srgbClr val="FF9900"/>
          </a:solidFill>
          <a:ln w="9525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Oval 94"/>
          <p:cNvSpPr/>
          <p:nvPr>
            <p:custDataLst>
              <p:tags r:id="rId13"/>
            </p:custDataLst>
          </p:nvPr>
        </p:nvSpPr>
        <p:spPr bwMode="auto">
          <a:xfrm>
            <a:off x="5083613" y="3776692"/>
            <a:ext cx="1712890" cy="772733"/>
          </a:xfrm>
          <a:prstGeom prst="ellipse">
            <a:avLst/>
          </a:prstGeom>
          <a:solidFill>
            <a:srgbClr val="FF9900"/>
          </a:solidFill>
          <a:ln w="9525" cap="flat" cmpd="sng" algn="ctr">
            <a:solidFill>
              <a:srgbClr val="FF99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algn="ctr" eaLnBrk="0" hangingPunct="0">
              <a:spcBef>
                <a:spcPct val="20000"/>
              </a:spcBef>
              <a:buSzPct val="100000"/>
            </a:pPr>
            <a:r>
              <a:rPr lang="es-CO" dirty="0" smtClean="0">
                <a:solidFill>
                  <a:schemeClr val="bg1"/>
                </a:solidFill>
                <a:latin typeface="Arial" charset="0"/>
              </a:rPr>
              <a:t>Ciclo mensual</a:t>
            </a:r>
          </a:p>
        </p:txBody>
      </p:sp>
      <p:grpSp>
        <p:nvGrpSpPr>
          <p:cNvPr id="32" name="Group 97"/>
          <p:cNvGrpSpPr/>
          <p:nvPr>
            <p:custDataLst>
              <p:tags r:id="rId14"/>
            </p:custDataLst>
          </p:nvPr>
        </p:nvGrpSpPr>
        <p:grpSpPr>
          <a:xfrm>
            <a:off x="7564947" y="4480742"/>
            <a:ext cx="2196000" cy="1980000"/>
            <a:chOff x="6216207" y="3988163"/>
            <a:chExt cx="2196000" cy="1980000"/>
          </a:xfrm>
          <a:solidFill>
            <a:schemeClr val="bg1"/>
          </a:solidFill>
        </p:grpSpPr>
        <p:grpSp>
          <p:nvGrpSpPr>
            <p:cNvPr id="33" name="Group 84"/>
            <p:cNvGrpSpPr/>
            <p:nvPr/>
          </p:nvGrpSpPr>
          <p:grpSpPr>
            <a:xfrm>
              <a:off x="6216207" y="3988163"/>
              <a:ext cx="2196000" cy="1980000"/>
              <a:chOff x="5907111" y="3421487"/>
              <a:chExt cx="2196000" cy="1980000"/>
            </a:xfrm>
            <a:grpFill/>
          </p:grpSpPr>
          <p:sp>
            <p:nvSpPr>
              <p:cNvPr id="35" name="TextBox 51"/>
              <p:cNvSpPr txBox="1"/>
              <p:nvPr/>
            </p:nvSpPr>
            <p:spPr>
              <a:xfrm>
                <a:off x="5907111" y="3421487"/>
                <a:ext cx="2196000" cy="1980000"/>
              </a:xfrm>
              <a:prstGeom prst="roundRect">
                <a:avLst>
                  <a:gd name="adj" fmla="val 7143"/>
                </a:avLst>
              </a:prstGeom>
              <a:grpFill/>
              <a:ln>
                <a:solidFill>
                  <a:schemeClr val="tx1"/>
                </a:solidFill>
                <a:prstDash val="dash"/>
              </a:ln>
            </p:spPr>
            <p:txBody>
              <a:bodyPr wrap="square" rtlCol="0">
                <a:noAutofit/>
              </a:bodyPr>
              <a:lstStyle/>
              <a:p>
                <a:pPr algn="ctr"/>
                <a:r>
                  <a:rPr lang="es-CO" sz="1200" dirty="0" smtClean="0">
                    <a:latin typeface="+mj-lt"/>
                  </a:rPr>
                  <a:t>Analizar capacidad actual</a:t>
                </a:r>
              </a:p>
              <a:p>
                <a:pPr algn="ctr"/>
                <a:endParaRPr lang="es-CO" sz="700" dirty="0" smtClean="0">
                  <a:latin typeface="+mj-lt"/>
                </a:endParaRPr>
              </a:p>
              <a:p>
                <a:r>
                  <a:rPr lang="es-CO" sz="1000" b="0" dirty="0" smtClean="0">
                    <a:latin typeface="+mj-lt"/>
                  </a:rPr>
                  <a:t>Comparar capacidad actual vs capacidad proyectada en el </a:t>
                </a:r>
                <a:r>
                  <a:rPr lang="es-CO" sz="1000" dirty="0" smtClean="0">
                    <a:latin typeface="+mj-lt"/>
                  </a:rPr>
                  <a:t>plan de capacidad anual</a:t>
                </a:r>
              </a:p>
            </p:txBody>
          </p:sp>
          <p:grpSp>
            <p:nvGrpSpPr>
              <p:cNvPr id="36" name="Group 62"/>
              <p:cNvGrpSpPr/>
              <p:nvPr/>
            </p:nvGrpSpPr>
            <p:grpSpPr>
              <a:xfrm>
                <a:off x="6117466" y="4264824"/>
                <a:ext cx="1852954" cy="1022612"/>
                <a:chOff x="927279" y="3393919"/>
                <a:chExt cx="2498501" cy="1919151"/>
              </a:xfrm>
              <a:grpFill/>
            </p:grpSpPr>
            <p:cxnSp>
              <p:nvCxnSpPr>
                <p:cNvPr id="37" name="Straight Arrow Connector 55"/>
                <p:cNvCxnSpPr/>
                <p:nvPr/>
              </p:nvCxnSpPr>
              <p:spPr bwMode="auto">
                <a:xfrm flipV="1">
                  <a:off x="940157" y="3548663"/>
                  <a:ext cx="0" cy="1764407"/>
                </a:xfrm>
                <a:prstGeom prst="straightConnector1">
                  <a:avLst/>
                </a:prstGeom>
                <a:grp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arrow"/>
                </a:ln>
                <a:effectLst/>
              </p:spPr>
            </p:cxnSp>
            <p:cxnSp>
              <p:nvCxnSpPr>
                <p:cNvPr id="38" name="Straight Arrow Connector 57"/>
                <p:cNvCxnSpPr/>
                <p:nvPr/>
              </p:nvCxnSpPr>
              <p:spPr bwMode="auto">
                <a:xfrm>
                  <a:off x="927279" y="5313070"/>
                  <a:ext cx="2498501" cy="0"/>
                </a:xfrm>
                <a:prstGeom prst="straightConnector1">
                  <a:avLst/>
                </a:prstGeom>
                <a:grp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arrow"/>
                </a:ln>
                <a:effectLst/>
              </p:spPr>
            </p:cxnSp>
            <p:sp>
              <p:nvSpPr>
                <p:cNvPr id="39" name="Freeform 58"/>
                <p:cNvSpPr/>
                <p:nvPr/>
              </p:nvSpPr>
              <p:spPr bwMode="auto">
                <a:xfrm>
                  <a:off x="940157" y="3935030"/>
                  <a:ext cx="2421228" cy="978795"/>
                </a:xfrm>
                <a:custGeom>
                  <a:avLst/>
                  <a:gdLst>
                    <a:gd name="connsiteX0" fmla="*/ 0 w 2421228"/>
                    <a:gd name="connsiteY0" fmla="*/ 978795 h 978795"/>
                    <a:gd name="connsiteX1" fmla="*/ 309093 w 2421228"/>
                    <a:gd name="connsiteY1" fmla="*/ 618186 h 978795"/>
                    <a:gd name="connsiteX2" fmla="*/ 1017431 w 2421228"/>
                    <a:gd name="connsiteY2" fmla="*/ 540913 h 978795"/>
                    <a:gd name="connsiteX3" fmla="*/ 1442434 w 2421228"/>
                    <a:gd name="connsiteY3" fmla="*/ 386367 h 978795"/>
                    <a:gd name="connsiteX4" fmla="*/ 1970467 w 2421228"/>
                    <a:gd name="connsiteY4" fmla="*/ 244699 h 978795"/>
                    <a:gd name="connsiteX5" fmla="*/ 2421228 w 2421228"/>
                    <a:gd name="connsiteY5" fmla="*/ 0 h 9787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2421228" h="978795">
                      <a:moveTo>
                        <a:pt x="0" y="978795"/>
                      </a:moveTo>
                      <a:cubicBezTo>
                        <a:pt x="69760" y="834980"/>
                        <a:pt x="139521" y="691166"/>
                        <a:pt x="309093" y="618186"/>
                      </a:cubicBezTo>
                      <a:cubicBezTo>
                        <a:pt x="478665" y="545206"/>
                        <a:pt x="828541" y="579550"/>
                        <a:pt x="1017431" y="540913"/>
                      </a:cubicBezTo>
                      <a:cubicBezTo>
                        <a:pt x="1206321" y="502276"/>
                        <a:pt x="1283595" y="435736"/>
                        <a:pt x="1442434" y="386367"/>
                      </a:cubicBezTo>
                      <a:cubicBezTo>
                        <a:pt x="1601273" y="336998"/>
                        <a:pt x="1807335" y="309093"/>
                        <a:pt x="1970467" y="244699"/>
                      </a:cubicBezTo>
                      <a:cubicBezTo>
                        <a:pt x="2133599" y="180305"/>
                        <a:pt x="2277413" y="90152"/>
                        <a:pt x="2421228" y="0"/>
                      </a:cubicBezTo>
                    </a:path>
                  </a:pathLst>
                </a:custGeom>
                <a:noFill/>
                <a:ln w="28575" cap="flat" cmpd="sng" algn="ctr">
                  <a:solidFill>
                    <a:srgbClr val="0070C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72000" tIns="72000" rIns="72000" bIns="72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ct val="0"/>
                    </a:spcAft>
                    <a:buClrTx/>
                    <a:buSzPct val="100000"/>
                    <a:buFont typeface="Wingdings" pitchFamily="2" charset="2"/>
                    <a:buNone/>
                    <a:tabLst/>
                  </a:pPr>
                  <a:endParaRPr kumimoji="0" lang="es-CO" sz="14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+mj-lt"/>
                  </a:endParaRPr>
                </a:p>
              </p:txBody>
            </p:sp>
            <p:sp>
              <p:nvSpPr>
                <p:cNvPr id="40" name="Freeform 59"/>
                <p:cNvSpPr/>
                <p:nvPr/>
              </p:nvSpPr>
              <p:spPr bwMode="auto">
                <a:xfrm>
                  <a:off x="940157" y="3393919"/>
                  <a:ext cx="2434107" cy="1262130"/>
                </a:xfrm>
                <a:custGeom>
                  <a:avLst/>
                  <a:gdLst>
                    <a:gd name="connsiteX0" fmla="*/ 0 w 2434107"/>
                    <a:gd name="connsiteY0" fmla="*/ 1262129 h 1262129"/>
                    <a:gd name="connsiteX1" fmla="*/ 334850 w 2434107"/>
                    <a:gd name="connsiteY1" fmla="*/ 837127 h 1262129"/>
                    <a:gd name="connsiteX2" fmla="*/ 785611 w 2434107"/>
                    <a:gd name="connsiteY2" fmla="*/ 759853 h 1262129"/>
                    <a:gd name="connsiteX3" fmla="*/ 1133341 w 2434107"/>
                    <a:gd name="connsiteY3" fmla="*/ 721217 h 1262129"/>
                    <a:gd name="connsiteX4" fmla="*/ 1622738 w 2434107"/>
                    <a:gd name="connsiteY4" fmla="*/ 386366 h 1262129"/>
                    <a:gd name="connsiteX5" fmla="*/ 2073498 w 2434107"/>
                    <a:gd name="connsiteY5" fmla="*/ 270456 h 1262129"/>
                    <a:gd name="connsiteX6" fmla="*/ 2434107 w 2434107"/>
                    <a:gd name="connsiteY6" fmla="*/ 0 h 1262129"/>
                    <a:gd name="connsiteX7" fmla="*/ 2434107 w 2434107"/>
                    <a:gd name="connsiteY7" fmla="*/ 0 h 126212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434107" h="1262129">
                      <a:moveTo>
                        <a:pt x="0" y="1262129"/>
                      </a:moveTo>
                      <a:cubicBezTo>
                        <a:pt x="101957" y="1091484"/>
                        <a:pt x="203915" y="920840"/>
                        <a:pt x="334850" y="837127"/>
                      </a:cubicBezTo>
                      <a:cubicBezTo>
                        <a:pt x="465785" y="753414"/>
                        <a:pt x="652529" y="779171"/>
                        <a:pt x="785611" y="759853"/>
                      </a:cubicBezTo>
                      <a:cubicBezTo>
                        <a:pt x="918693" y="740535"/>
                        <a:pt x="993820" y="783465"/>
                        <a:pt x="1133341" y="721217"/>
                      </a:cubicBezTo>
                      <a:cubicBezTo>
                        <a:pt x="1272862" y="658969"/>
                        <a:pt x="1466045" y="461493"/>
                        <a:pt x="1622738" y="386366"/>
                      </a:cubicBezTo>
                      <a:cubicBezTo>
                        <a:pt x="1779431" y="311239"/>
                        <a:pt x="1938270" y="334850"/>
                        <a:pt x="2073498" y="270456"/>
                      </a:cubicBezTo>
                      <a:cubicBezTo>
                        <a:pt x="2208726" y="206062"/>
                        <a:pt x="2434107" y="0"/>
                        <a:pt x="2434107" y="0"/>
                      </a:cubicBezTo>
                      <a:lnTo>
                        <a:pt x="2434107" y="0"/>
                      </a:lnTo>
                    </a:path>
                  </a:pathLst>
                </a:custGeom>
                <a:noFill/>
                <a:ln w="28575" cap="flat" cmpd="sng" algn="ctr">
                  <a:solidFill>
                    <a:srgbClr val="FF99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none" lIns="72000" tIns="72000" rIns="72000" bIns="720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20000"/>
                    </a:spcBef>
                    <a:spcAft>
                      <a:spcPct val="0"/>
                    </a:spcAft>
                    <a:buClrTx/>
                    <a:buSzPct val="100000"/>
                    <a:buFont typeface="Wingdings" pitchFamily="2" charset="2"/>
                    <a:buNone/>
                    <a:tabLst/>
                  </a:pPr>
                  <a:endParaRPr kumimoji="0" lang="es-CO" sz="14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+mj-lt"/>
                  </a:endParaRPr>
                </a:p>
              </p:txBody>
            </p:sp>
            <p:sp>
              <p:nvSpPr>
                <p:cNvPr id="41" name="TextBox 60"/>
                <p:cNvSpPr txBox="1"/>
                <p:nvPr/>
              </p:nvSpPr>
              <p:spPr>
                <a:xfrm>
                  <a:off x="1130129" y="3715353"/>
                  <a:ext cx="1094704" cy="4620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CO" sz="1000" dirty="0" smtClean="0">
                      <a:solidFill>
                        <a:srgbClr val="FF9900"/>
                      </a:solidFill>
                      <a:latin typeface="+mj-lt"/>
                    </a:rPr>
                    <a:t>Actual</a:t>
                  </a:r>
                  <a:endParaRPr lang="es-CO" sz="1000" dirty="0">
                    <a:solidFill>
                      <a:srgbClr val="FF9900"/>
                    </a:solidFill>
                    <a:latin typeface="+mj-lt"/>
                  </a:endParaRPr>
                </a:p>
              </p:txBody>
            </p:sp>
            <p:sp>
              <p:nvSpPr>
                <p:cNvPr id="42" name="TextBox 61"/>
                <p:cNvSpPr txBox="1"/>
                <p:nvPr/>
              </p:nvSpPr>
              <p:spPr>
                <a:xfrm>
                  <a:off x="1809055" y="4600440"/>
                  <a:ext cx="1366671" cy="462087"/>
                </a:xfrm>
                <a:prstGeom prst="rect">
                  <a:avLst/>
                </a:prstGeom>
                <a:grp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s-CO" sz="1000" dirty="0" smtClean="0">
                      <a:solidFill>
                        <a:srgbClr val="0070C0"/>
                      </a:solidFill>
                      <a:latin typeface="+mj-lt"/>
                    </a:rPr>
                    <a:t>Proyección</a:t>
                  </a:r>
                  <a:endParaRPr lang="es-CO" sz="1000" dirty="0">
                    <a:solidFill>
                      <a:srgbClr val="0070C0"/>
                    </a:solidFill>
                    <a:latin typeface="+mj-lt"/>
                  </a:endParaRPr>
                </a:p>
              </p:txBody>
            </p:sp>
          </p:grpSp>
        </p:grpSp>
        <p:cxnSp>
          <p:nvCxnSpPr>
            <p:cNvPr id="34" name="Straight Arrow Connector 96"/>
            <p:cNvCxnSpPr>
              <a:stCxn id="40" idx="4"/>
            </p:cNvCxnSpPr>
            <p:nvPr/>
          </p:nvCxnSpPr>
          <p:spPr bwMode="auto">
            <a:xfrm>
              <a:off x="7639579" y="5037374"/>
              <a:ext cx="10472" cy="216000"/>
            </a:xfrm>
            <a:prstGeom prst="straightConnector1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arrow"/>
              <a:tailEnd type="arrow"/>
            </a:ln>
            <a:effectLst/>
          </p:spPr>
        </p:cxnSp>
      </p:grpSp>
      <p:grpSp>
        <p:nvGrpSpPr>
          <p:cNvPr id="43" name="Group 100"/>
          <p:cNvGrpSpPr/>
          <p:nvPr/>
        </p:nvGrpSpPr>
        <p:grpSpPr>
          <a:xfrm>
            <a:off x="4832479" y="1548648"/>
            <a:ext cx="2196000" cy="1980000"/>
            <a:chOff x="3483739" y="1056069"/>
            <a:chExt cx="2196000" cy="1980000"/>
          </a:xfrm>
        </p:grpSpPr>
        <p:sp>
          <p:nvSpPr>
            <p:cNvPr id="44" name="Rounded Rectangle 40"/>
            <p:cNvSpPr/>
            <p:nvPr>
              <p:custDataLst>
                <p:tags r:id="rId15"/>
              </p:custDataLst>
            </p:nvPr>
          </p:nvSpPr>
          <p:spPr bwMode="auto">
            <a:xfrm>
              <a:off x="3483739" y="1056069"/>
              <a:ext cx="2196000" cy="1980000"/>
            </a:xfrm>
            <a:prstGeom prst="roundRect">
              <a:avLst>
                <a:gd name="adj" fmla="val 6262"/>
              </a:avLst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1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Consola</a:t>
              </a:r>
              <a:r>
                <a:rPr kumimoji="0" lang="es-CO" sz="1200" b="1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 de Monitoreo</a:t>
              </a:r>
              <a:endParaRPr kumimoji="0" lang="es-CO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grpSp>
          <p:nvGrpSpPr>
            <p:cNvPr id="45" name="Group 103"/>
            <p:cNvGrpSpPr/>
            <p:nvPr>
              <p:custDataLst>
                <p:tags r:id="rId16"/>
              </p:custDataLst>
            </p:nvPr>
          </p:nvGrpSpPr>
          <p:grpSpPr>
            <a:xfrm>
              <a:off x="3666177" y="2032249"/>
              <a:ext cx="1903926" cy="847886"/>
              <a:chOff x="3425782" y="2470130"/>
              <a:chExt cx="1903926" cy="847886"/>
            </a:xfrm>
            <a:solidFill>
              <a:schemeClr val="bg1"/>
            </a:solidFill>
          </p:grpSpPr>
          <p:pic>
            <p:nvPicPr>
              <p:cNvPr id="49" name="Picture 11"/>
              <p:cNvPicPr>
                <a:picLocks noChangeAspect="1" noChangeArrowheads="1"/>
              </p:cNvPicPr>
              <p:nvPr>
                <p:custDataLst>
                  <p:tags r:id="rId20"/>
                </p:custDataLst>
              </p:nvPr>
            </p:nvPicPr>
            <p:blipFill>
              <a:blip r:embed="rId31" cstate="print"/>
              <a:srcRect/>
              <a:stretch>
                <a:fillRect/>
              </a:stretch>
            </p:blipFill>
            <p:spPr bwMode="auto">
              <a:xfrm>
                <a:off x="3658871" y="2470130"/>
                <a:ext cx="448220" cy="58753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0" name="Picture 11"/>
              <p:cNvPicPr>
                <a:picLocks noChangeAspect="1" noChangeArrowheads="1"/>
              </p:cNvPicPr>
              <p:nvPr>
                <p:custDataLst>
                  <p:tags r:id="rId21"/>
                </p:custDataLst>
              </p:nvPr>
            </p:nvPicPr>
            <p:blipFill>
              <a:blip r:embed="rId31" cstate="print"/>
              <a:srcRect/>
              <a:stretch>
                <a:fillRect/>
              </a:stretch>
            </p:blipFill>
            <p:spPr bwMode="auto">
              <a:xfrm>
                <a:off x="4648398" y="2470130"/>
                <a:ext cx="448220" cy="58753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1" name="TextBox 45"/>
              <p:cNvSpPr txBox="1"/>
              <p:nvPr>
                <p:custDataLst>
                  <p:tags r:id="rId22"/>
                </p:custDataLst>
              </p:nvPr>
            </p:nvSpPr>
            <p:spPr>
              <a:xfrm>
                <a:off x="3425782" y="3064100"/>
                <a:ext cx="914399" cy="253916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CO" sz="1050" dirty="0" smtClean="0">
                    <a:latin typeface="+mj-lt"/>
                  </a:rPr>
                  <a:t>Barcelona 04</a:t>
                </a:r>
                <a:endParaRPr lang="es-CO" sz="1050" dirty="0">
                  <a:latin typeface="+mj-lt"/>
                </a:endParaRPr>
              </a:p>
            </p:txBody>
          </p:sp>
          <p:sp>
            <p:nvSpPr>
              <p:cNvPr id="52" name="TextBox 46"/>
              <p:cNvSpPr txBox="1"/>
              <p:nvPr>
                <p:custDataLst>
                  <p:tags r:id="rId23"/>
                </p:custDataLst>
              </p:nvPr>
            </p:nvSpPr>
            <p:spPr>
              <a:xfrm>
                <a:off x="4415309" y="3064100"/>
                <a:ext cx="914399" cy="253916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CO" sz="1050" dirty="0" smtClean="0">
                    <a:latin typeface="+mj-lt"/>
                  </a:rPr>
                  <a:t>SCOM</a:t>
                </a:r>
                <a:endParaRPr lang="es-CO" sz="1050" dirty="0">
                  <a:latin typeface="+mj-lt"/>
                </a:endParaRPr>
              </a:p>
            </p:txBody>
          </p:sp>
          <p:cxnSp>
            <p:nvCxnSpPr>
              <p:cNvPr id="53" name="Straight Arrow Connector 47"/>
              <p:cNvCxnSpPr/>
              <p:nvPr>
                <p:custDataLst>
                  <p:tags r:id="rId24"/>
                </p:custDataLst>
              </p:nvPr>
            </p:nvCxnSpPr>
            <p:spPr bwMode="auto">
              <a:xfrm flipH="1">
                <a:off x="4119970" y="2776774"/>
                <a:ext cx="432000" cy="1"/>
              </a:xfrm>
              <a:prstGeom prst="straightConnector1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ysDash"/>
                <a:round/>
                <a:headEnd type="none" w="med" len="med"/>
                <a:tailEnd type="arrow"/>
              </a:ln>
              <a:effectLst/>
            </p:spPr>
          </p:cxnSp>
        </p:grpSp>
        <p:grpSp>
          <p:nvGrpSpPr>
            <p:cNvPr id="46" name="Group 110"/>
            <p:cNvGrpSpPr/>
            <p:nvPr>
              <p:custDataLst>
                <p:tags r:id="rId17"/>
              </p:custDataLst>
            </p:nvPr>
          </p:nvGrpSpPr>
          <p:grpSpPr>
            <a:xfrm>
              <a:off x="4337646" y="1481076"/>
              <a:ext cx="554404" cy="489392"/>
              <a:chOff x="3981340" y="1854562"/>
              <a:chExt cx="554404" cy="489392"/>
            </a:xfrm>
            <a:solidFill>
              <a:schemeClr val="bg1"/>
            </a:solidFill>
          </p:grpSpPr>
          <p:sp>
            <p:nvSpPr>
              <p:cNvPr id="47" name="Arc 41"/>
              <p:cNvSpPr/>
              <p:nvPr>
                <p:custDataLst>
                  <p:tags r:id="rId18"/>
                </p:custDataLst>
              </p:nvPr>
            </p:nvSpPr>
            <p:spPr bwMode="auto">
              <a:xfrm>
                <a:off x="3992455" y="1854562"/>
                <a:ext cx="489395" cy="489392"/>
              </a:xfrm>
              <a:prstGeom prst="arc">
                <a:avLst>
                  <a:gd name="adj1" fmla="val 16200000"/>
                  <a:gd name="adj2" fmla="val 13637434"/>
                </a:avLst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oval" w="med" len="med"/>
                <a:tailEnd type="triangle" w="med" len="med"/>
              </a:ln>
              <a:effectLst/>
            </p:spPr>
            <p:txBody>
              <a:bodyPr vert="horz" wrap="non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endParaRPr kumimoji="0" lang="es-CO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endParaRPr>
              </a:p>
            </p:txBody>
          </p:sp>
          <p:sp>
            <p:nvSpPr>
              <p:cNvPr id="48" name="TextBox 42"/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3981340" y="2018077"/>
                <a:ext cx="554404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CO" sz="800" dirty="0" smtClean="0">
                    <a:solidFill>
                      <a:srgbClr val="FF0000"/>
                    </a:solidFill>
                    <a:latin typeface="+mj-lt"/>
                  </a:rPr>
                  <a:t>24 X 7</a:t>
                </a:r>
                <a:endParaRPr lang="es-CO" sz="800" dirty="0">
                  <a:solidFill>
                    <a:srgbClr val="FF0000"/>
                  </a:solidFill>
                  <a:latin typeface="+mj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589158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8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7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0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7" grpId="0"/>
      <p:bldP spid="8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0" grpId="0" animBg="1"/>
      <p:bldP spid="3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082385" y="608870"/>
            <a:ext cx="8911687" cy="8078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C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evo Modelo operativo</a:t>
            </a:r>
          </a:p>
        </p:txBody>
      </p:sp>
      <p:sp>
        <p:nvSpPr>
          <p:cNvPr id="5" name="Rectangle 4"/>
          <p:cNvSpPr/>
          <p:nvPr>
            <p:custDataLst>
              <p:tags r:id="rId1"/>
            </p:custDataLst>
          </p:nvPr>
        </p:nvSpPr>
        <p:spPr bwMode="auto">
          <a:xfrm>
            <a:off x="2659461" y="1897075"/>
            <a:ext cx="7612380" cy="453771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Rectangle 157"/>
          <p:cNvSpPr/>
          <p:nvPr>
            <p:custDataLst>
              <p:tags r:id="rId2"/>
            </p:custDataLst>
          </p:nvPr>
        </p:nvSpPr>
        <p:spPr bwMode="auto">
          <a:xfrm>
            <a:off x="3429081" y="4255465"/>
            <a:ext cx="6252210" cy="13258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angle 156"/>
          <p:cNvSpPr/>
          <p:nvPr>
            <p:custDataLst>
              <p:tags r:id="rId3"/>
            </p:custDataLst>
          </p:nvPr>
        </p:nvSpPr>
        <p:spPr bwMode="auto">
          <a:xfrm>
            <a:off x="3425271" y="2582875"/>
            <a:ext cx="6252210" cy="132588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itle 3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088239" y="1126640"/>
            <a:ext cx="7783552" cy="550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CO" sz="2000" b="1" dirty="0" smtClean="0">
                <a:solidFill>
                  <a:schemeClr val="accent1"/>
                </a:solidFill>
              </a:rPr>
              <a:t>Administración del Ambiente Físico - </a:t>
            </a:r>
            <a:r>
              <a:rPr lang="es-CO" sz="2000" b="1" dirty="0" err="1" smtClean="0">
                <a:solidFill>
                  <a:schemeClr val="accent1"/>
                </a:solidFill>
              </a:rPr>
              <a:t>Datacenter</a:t>
            </a:r>
            <a:endParaRPr lang="es-CO" sz="2000" b="1" dirty="0">
              <a:solidFill>
                <a:schemeClr val="accent1"/>
              </a:solidFill>
            </a:endParaRPr>
          </a:p>
        </p:txBody>
      </p:sp>
      <p:sp>
        <p:nvSpPr>
          <p:cNvPr id="10" name="Rectangle 20"/>
          <p:cNvSpPr/>
          <p:nvPr>
            <p:custDataLst>
              <p:tags r:id="rId5"/>
            </p:custDataLst>
          </p:nvPr>
        </p:nvSpPr>
        <p:spPr bwMode="auto">
          <a:xfrm>
            <a:off x="8443041" y="2994355"/>
            <a:ext cx="567690" cy="468630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UPS</a:t>
            </a:r>
          </a:p>
        </p:txBody>
      </p:sp>
      <p:sp>
        <p:nvSpPr>
          <p:cNvPr id="11" name="Rectangle 22"/>
          <p:cNvSpPr/>
          <p:nvPr>
            <p:custDataLst>
              <p:tags r:id="rId6"/>
            </p:custDataLst>
          </p:nvPr>
        </p:nvSpPr>
        <p:spPr bwMode="auto">
          <a:xfrm>
            <a:off x="9041211" y="2994355"/>
            <a:ext cx="567690" cy="46863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aterías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21" cstate="print"/>
          <a:srcRect/>
          <a:stretch>
            <a:fillRect/>
          </a:stretch>
        </p:blipFill>
        <p:spPr bwMode="auto">
          <a:xfrm>
            <a:off x="3010934" y="6056643"/>
            <a:ext cx="371475" cy="390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25"/>
          <p:cNvSpPr txBox="1"/>
          <p:nvPr>
            <p:custDataLst>
              <p:tags r:id="rId8"/>
            </p:custDataLst>
          </p:nvPr>
        </p:nvSpPr>
        <p:spPr>
          <a:xfrm>
            <a:off x="5730321" y="3965905"/>
            <a:ext cx="1512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100" dirty="0" smtClean="0">
                <a:solidFill>
                  <a:srgbClr val="FF0000"/>
                </a:solidFill>
              </a:rPr>
              <a:t>Pasillo caliente</a:t>
            </a:r>
            <a:endParaRPr lang="es-CO" sz="1100" dirty="0">
              <a:solidFill>
                <a:srgbClr val="FF0000"/>
              </a:solidFill>
            </a:endParaRPr>
          </a:p>
        </p:txBody>
      </p:sp>
      <p:sp>
        <p:nvSpPr>
          <p:cNvPr id="14" name="TextBox 26"/>
          <p:cNvSpPr txBox="1"/>
          <p:nvPr>
            <p:custDataLst>
              <p:tags r:id="rId9"/>
            </p:custDataLst>
          </p:nvPr>
        </p:nvSpPr>
        <p:spPr>
          <a:xfrm>
            <a:off x="5730321" y="5992825"/>
            <a:ext cx="1512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100" dirty="0" smtClean="0">
                <a:solidFill>
                  <a:srgbClr val="0070C0"/>
                </a:solidFill>
              </a:rPr>
              <a:t>Pasillo frío</a:t>
            </a:r>
            <a:endParaRPr lang="es-CO" sz="1100" dirty="0">
              <a:solidFill>
                <a:srgbClr val="0070C0"/>
              </a:solidFill>
            </a:endParaRPr>
          </a:p>
        </p:txBody>
      </p:sp>
      <p:sp>
        <p:nvSpPr>
          <p:cNvPr id="15" name="TextBox 27"/>
          <p:cNvSpPr txBox="1"/>
          <p:nvPr>
            <p:custDataLst>
              <p:tags r:id="rId10"/>
            </p:custDataLst>
          </p:nvPr>
        </p:nvSpPr>
        <p:spPr>
          <a:xfrm>
            <a:off x="5730321" y="1996135"/>
            <a:ext cx="15125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100" dirty="0" smtClean="0">
                <a:solidFill>
                  <a:srgbClr val="0070C0"/>
                </a:solidFill>
              </a:rPr>
              <a:t>Pasillo frío</a:t>
            </a:r>
            <a:endParaRPr lang="es-CO" sz="1100" dirty="0">
              <a:solidFill>
                <a:srgbClr val="0070C0"/>
              </a:solidFill>
            </a:endParaRPr>
          </a:p>
        </p:txBody>
      </p:sp>
      <p:grpSp>
        <p:nvGrpSpPr>
          <p:cNvPr id="16" name="Group 30"/>
          <p:cNvGrpSpPr/>
          <p:nvPr>
            <p:custDataLst>
              <p:tags r:id="rId11"/>
            </p:custDataLst>
          </p:nvPr>
        </p:nvGrpSpPr>
        <p:grpSpPr>
          <a:xfrm rot="1041030">
            <a:off x="2708991" y="2000824"/>
            <a:ext cx="617220" cy="228600"/>
            <a:chOff x="422910" y="1291590"/>
            <a:chExt cx="617220" cy="228600"/>
          </a:xfrm>
        </p:grpSpPr>
        <p:sp>
          <p:nvSpPr>
            <p:cNvPr id="17" name="Rounded Rectangle 28"/>
            <p:cNvSpPr/>
            <p:nvPr/>
          </p:nvSpPr>
          <p:spPr bwMode="auto">
            <a:xfrm>
              <a:off x="422910" y="1291590"/>
              <a:ext cx="502920" cy="22860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CTV</a:t>
              </a:r>
            </a:p>
          </p:txBody>
        </p:sp>
        <p:sp>
          <p:nvSpPr>
            <p:cNvPr id="18" name="Rectangle 29"/>
            <p:cNvSpPr/>
            <p:nvPr/>
          </p:nvSpPr>
          <p:spPr bwMode="auto">
            <a:xfrm>
              <a:off x="925830" y="1337310"/>
              <a:ext cx="114300" cy="13716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9" name="Group 31"/>
          <p:cNvGrpSpPr/>
          <p:nvPr>
            <p:custDataLst>
              <p:tags r:id="rId12"/>
            </p:custDataLst>
          </p:nvPr>
        </p:nvGrpSpPr>
        <p:grpSpPr>
          <a:xfrm>
            <a:off x="2686131" y="3969715"/>
            <a:ext cx="617220" cy="228600"/>
            <a:chOff x="422910" y="1291590"/>
            <a:chExt cx="617220" cy="228600"/>
          </a:xfrm>
        </p:grpSpPr>
        <p:sp>
          <p:nvSpPr>
            <p:cNvPr id="20" name="Rounded Rectangle 32"/>
            <p:cNvSpPr/>
            <p:nvPr/>
          </p:nvSpPr>
          <p:spPr bwMode="auto">
            <a:xfrm>
              <a:off x="422910" y="1291590"/>
              <a:ext cx="502920" cy="22860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CTV</a:t>
              </a:r>
            </a:p>
          </p:txBody>
        </p:sp>
        <p:sp>
          <p:nvSpPr>
            <p:cNvPr id="21" name="Rectangle 33"/>
            <p:cNvSpPr/>
            <p:nvPr/>
          </p:nvSpPr>
          <p:spPr bwMode="auto">
            <a:xfrm>
              <a:off x="925830" y="1337310"/>
              <a:ext cx="114300" cy="13716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2" name="Group 34"/>
          <p:cNvGrpSpPr/>
          <p:nvPr>
            <p:custDataLst>
              <p:tags r:id="rId13"/>
            </p:custDataLst>
          </p:nvPr>
        </p:nvGrpSpPr>
        <p:grpSpPr>
          <a:xfrm rot="12094783" flipV="1">
            <a:off x="9593661" y="5962345"/>
            <a:ext cx="617220" cy="228600"/>
            <a:chOff x="422910" y="1291590"/>
            <a:chExt cx="617220" cy="228600"/>
          </a:xfrm>
        </p:grpSpPr>
        <p:sp>
          <p:nvSpPr>
            <p:cNvPr id="23" name="Rounded Rectangle 35"/>
            <p:cNvSpPr/>
            <p:nvPr/>
          </p:nvSpPr>
          <p:spPr bwMode="auto">
            <a:xfrm>
              <a:off x="422910" y="1291590"/>
              <a:ext cx="502920" cy="22860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rPr>
                <a:t>CCTV</a:t>
              </a:r>
            </a:p>
          </p:txBody>
        </p:sp>
        <p:sp>
          <p:nvSpPr>
            <p:cNvPr id="24" name="Rectangle 36"/>
            <p:cNvSpPr/>
            <p:nvPr/>
          </p:nvSpPr>
          <p:spPr bwMode="auto">
            <a:xfrm>
              <a:off x="925830" y="1337310"/>
              <a:ext cx="114300" cy="13716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pic>
        <p:nvPicPr>
          <p:cNvPr id="25" name="Picture 3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22" cstate="print"/>
          <a:srcRect/>
          <a:stretch>
            <a:fillRect/>
          </a:stretch>
        </p:blipFill>
        <p:spPr bwMode="auto">
          <a:xfrm>
            <a:off x="3488136" y="2643835"/>
            <a:ext cx="742950" cy="110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3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22" cstate="print"/>
          <a:srcRect/>
          <a:stretch>
            <a:fillRect/>
          </a:stretch>
        </p:blipFill>
        <p:spPr bwMode="auto">
          <a:xfrm>
            <a:off x="4234896" y="2643835"/>
            <a:ext cx="742950" cy="110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4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123" cstate="print"/>
          <a:srcRect/>
          <a:stretch>
            <a:fillRect/>
          </a:stretch>
        </p:blipFill>
        <p:spPr bwMode="auto">
          <a:xfrm>
            <a:off x="5693174" y="2734323"/>
            <a:ext cx="6762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Picture 4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123" cstate="print"/>
          <a:srcRect/>
          <a:stretch>
            <a:fillRect/>
          </a:stretch>
        </p:blipFill>
        <p:spPr bwMode="auto">
          <a:xfrm>
            <a:off x="6371354" y="2734323"/>
            <a:ext cx="6762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4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123" cstate="print"/>
          <a:srcRect/>
          <a:stretch>
            <a:fillRect/>
          </a:stretch>
        </p:blipFill>
        <p:spPr bwMode="auto">
          <a:xfrm>
            <a:off x="7038104" y="2734323"/>
            <a:ext cx="6762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4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123" cstate="print"/>
          <a:srcRect/>
          <a:stretch>
            <a:fillRect/>
          </a:stretch>
        </p:blipFill>
        <p:spPr bwMode="auto">
          <a:xfrm>
            <a:off x="7704854" y="2734323"/>
            <a:ext cx="6762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Rectangle 48"/>
          <p:cNvSpPr/>
          <p:nvPr>
            <p:custDataLst>
              <p:tags r:id="rId20"/>
            </p:custDataLst>
          </p:nvPr>
        </p:nvSpPr>
        <p:spPr bwMode="auto">
          <a:xfrm>
            <a:off x="5040711" y="2994355"/>
            <a:ext cx="567690" cy="46863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C</a:t>
            </a:r>
          </a:p>
        </p:txBody>
      </p:sp>
      <p:grpSp>
        <p:nvGrpSpPr>
          <p:cNvPr id="32" name="Group 62"/>
          <p:cNvGrpSpPr/>
          <p:nvPr>
            <p:custDataLst>
              <p:tags r:id="rId21"/>
            </p:custDataLst>
          </p:nvPr>
        </p:nvGrpSpPr>
        <p:grpSpPr>
          <a:xfrm>
            <a:off x="3707211" y="3645865"/>
            <a:ext cx="213360" cy="203482"/>
            <a:chOff x="2133600" y="4126230"/>
            <a:chExt cx="411480" cy="392430"/>
          </a:xfrm>
          <a:solidFill>
            <a:srgbClr val="FFC000"/>
          </a:solidFill>
        </p:grpSpPr>
        <p:sp>
          <p:nvSpPr>
            <p:cNvPr id="33" name="Oval 60"/>
            <p:cNvSpPr/>
            <p:nvPr>
              <p:custDataLst>
                <p:tags r:id="rId118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4" name="Oval 59"/>
            <p:cNvSpPr/>
            <p:nvPr>
              <p:custDataLst>
                <p:tags r:id="rId119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35" name="Group 63"/>
          <p:cNvGrpSpPr/>
          <p:nvPr>
            <p:custDataLst>
              <p:tags r:id="rId22"/>
            </p:custDataLst>
          </p:nvPr>
        </p:nvGrpSpPr>
        <p:grpSpPr>
          <a:xfrm>
            <a:off x="4499691" y="3645865"/>
            <a:ext cx="213360" cy="203482"/>
            <a:chOff x="2133600" y="4126230"/>
            <a:chExt cx="411480" cy="392430"/>
          </a:xfrm>
          <a:solidFill>
            <a:srgbClr val="FFC000"/>
          </a:solidFill>
        </p:grpSpPr>
        <p:sp>
          <p:nvSpPr>
            <p:cNvPr id="36" name="Oval 64"/>
            <p:cNvSpPr/>
            <p:nvPr>
              <p:custDataLst>
                <p:tags r:id="rId116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7" name="Oval 65"/>
            <p:cNvSpPr/>
            <p:nvPr>
              <p:custDataLst>
                <p:tags r:id="rId117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38" name="Group 66"/>
          <p:cNvGrpSpPr/>
          <p:nvPr>
            <p:custDataLst>
              <p:tags r:id="rId23"/>
            </p:custDataLst>
          </p:nvPr>
        </p:nvGrpSpPr>
        <p:grpSpPr>
          <a:xfrm>
            <a:off x="5817951" y="3645865"/>
            <a:ext cx="213360" cy="203482"/>
            <a:chOff x="2133600" y="4126230"/>
            <a:chExt cx="411480" cy="392430"/>
          </a:xfrm>
          <a:solidFill>
            <a:srgbClr val="FFC000"/>
          </a:solidFill>
        </p:grpSpPr>
        <p:sp>
          <p:nvSpPr>
            <p:cNvPr id="39" name="Oval 67"/>
            <p:cNvSpPr/>
            <p:nvPr>
              <p:custDataLst>
                <p:tags r:id="rId114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0" name="Oval 68"/>
            <p:cNvSpPr/>
            <p:nvPr>
              <p:custDataLst>
                <p:tags r:id="rId115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41" name="Group 69"/>
          <p:cNvGrpSpPr/>
          <p:nvPr>
            <p:custDataLst>
              <p:tags r:id="rId24"/>
            </p:custDataLst>
          </p:nvPr>
        </p:nvGrpSpPr>
        <p:grpSpPr>
          <a:xfrm>
            <a:off x="6484701" y="3645865"/>
            <a:ext cx="213360" cy="203482"/>
            <a:chOff x="2133600" y="4126230"/>
            <a:chExt cx="411480" cy="392430"/>
          </a:xfrm>
          <a:solidFill>
            <a:srgbClr val="FFC000"/>
          </a:solidFill>
        </p:grpSpPr>
        <p:sp>
          <p:nvSpPr>
            <p:cNvPr id="42" name="Oval 70"/>
            <p:cNvSpPr/>
            <p:nvPr>
              <p:custDataLst>
                <p:tags r:id="rId112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3" name="Oval 71"/>
            <p:cNvSpPr/>
            <p:nvPr>
              <p:custDataLst>
                <p:tags r:id="rId113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44" name="Group 72"/>
          <p:cNvGrpSpPr/>
          <p:nvPr>
            <p:custDataLst>
              <p:tags r:id="rId25"/>
            </p:custDataLst>
          </p:nvPr>
        </p:nvGrpSpPr>
        <p:grpSpPr>
          <a:xfrm>
            <a:off x="7162881" y="3645865"/>
            <a:ext cx="213360" cy="203482"/>
            <a:chOff x="2133600" y="4126230"/>
            <a:chExt cx="411480" cy="392430"/>
          </a:xfrm>
          <a:solidFill>
            <a:srgbClr val="FFC000"/>
          </a:solidFill>
        </p:grpSpPr>
        <p:sp>
          <p:nvSpPr>
            <p:cNvPr id="45" name="Oval 73"/>
            <p:cNvSpPr/>
            <p:nvPr>
              <p:custDataLst>
                <p:tags r:id="rId110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6" name="Oval 74"/>
            <p:cNvSpPr/>
            <p:nvPr>
              <p:custDataLst>
                <p:tags r:id="rId111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47" name="Group 75"/>
          <p:cNvGrpSpPr/>
          <p:nvPr>
            <p:custDataLst>
              <p:tags r:id="rId26"/>
            </p:custDataLst>
          </p:nvPr>
        </p:nvGrpSpPr>
        <p:grpSpPr>
          <a:xfrm>
            <a:off x="7818201" y="3645865"/>
            <a:ext cx="213360" cy="203482"/>
            <a:chOff x="2133600" y="4126230"/>
            <a:chExt cx="411480" cy="392430"/>
          </a:xfrm>
          <a:solidFill>
            <a:srgbClr val="FFC000"/>
          </a:solidFill>
        </p:grpSpPr>
        <p:sp>
          <p:nvSpPr>
            <p:cNvPr id="48" name="Oval 76"/>
            <p:cNvSpPr/>
            <p:nvPr>
              <p:custDataLst>
                <p:tags r:id="rId108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9" name="Oval 77"/>
            <p:cNvSpPr/>
            <p:nvPr>
              <p:custDataLst>
                <p:tags r:id="rId109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0" name="Rectangle 78"/>
          <p:cNvSpPr/>
          <p:nvPr>
            <p:custDataLst>
              <p:tags r:id="rId27"/>
            </p:custDataLst>
          </p:nvPr>
        </p:nvSpPr>
        <p:spPr bwMode="auto">
          <a:xfrm flipH="1">
            <a:off x="8435421" y="4735525"/>
            <a:ext cx="567690" cy="468630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UPS</a:t>
            </a:r>
          </a:p>
        </p:txBody>
      </p:sp>
      <p:sp>
        <p:nvSpPr>
          <p:cNvPr id="51" name="Rectangle 79"/>
          <p:cNvSpPr/>
          <p:nvPr>
            <p:custDataLst>
              <p:tags r:id="rId28"/>
            </p:custDataLst>
          </p:nvPr>
        </p:nvSpPr>
        <p:spPr bwMode="auto">
          <a:xfrm flipH="1">
            <a:off x="9033591" y="4735525"/>
            <a:ext cx="567690" cy="46863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Baterías</a:t>
            </a:r>
          </a:p>
        </p:txBody>
      </p:sp>
      <p:pic>
        <p:nvPicPr>
          <p:cNvPr id="52" name="Picture 3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122" cstate="print"/>
          <a:srcRect/>
          <a:stretch>
            <a:fillRect/>
          </a:stretch>
        </p:blipFill>
        <p:spPr bwMode="auto">
          <a:xfrm flipV="1">
            <a:off x="3480516" y="4385005"/>
            <a:ext cx="742950" cy="110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" name="Picture 3"/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>
          <a:blip r:embed="rId122" cstate="print"/>
          <a:srcRect/>
          <a:stretch>
            <a:fillRect/>
          </a:stretch>
        </p:blipFill>
        <p:spPr bwMode="auto">
          <a:xfrm flipV="1">
            <a:off x="4227276" y="4385005"/>
            <a:ext cx="742950" cy="110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" name="Picture 4"/>
          <p:cNvPicPr>
            <a:picLocks noChangeAspect="1" noChangeArrowheads="1"/>
          </p:cNvPicPr>
          <p:nvPr>
            <p:custDataLst>
              <p:tags r:id="rId31"/>
            </p:custDataLst>
          </p:nvPr>
        </p:nvPicPr>
        <p:blipFill>
          <a:blip r:embed="rId123" cstate="print"/>
          <a:srcRect/>
          <a:stretch>
            <a:fillRect/>
          </a:stretch>
        </p:blipFill>
        <p:spPr bwMode="auto">
          <a:xfrm flipV="1">
            <a:off x="5685554" y="4475493"/>
            <a:ext cx="6762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" name="Picture 4"/>
          <p:cNvPicPr>
            <a:picLocks noChangeAspect="1" noChangeArrowheads="1"/>
          </p:cNvPicPr>
          <p:nvPr>
            <p:custDataLst>
              <p:tags r:id="rId32"/>
            </p:custDataLst>
          </p:nvPr>
        </p:nvPicPr>
        <p:blipFill>
          <a:blip r:embed="rId123" cstate="print"/>
          <a:srcRect/>
          <a:stretch>
            <a:fillRect/>
          </a:stretch>
        </p:blipFill>
        <p:spPr bwMode="auto">
          <a:xfrm flipV="1">
            <a:off x="6363734" y="4475493"/>
            <a:ext cx="6762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" name="Picture 4"/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>
          <a:blip r:embed="rId123" cstate="print"/>
          <a:srcRect/>
          <a:stretch>
            <a:fillRect/>
          </a:stretch>
        </p:blipFill>
        <p:spPr bwMode="auto">
          <a:xfrm flipV="1">
            <a:off x="7030484" y="4475493"/>
            <a:ext cx="6762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" name="Picture 4"/>
          <p:cNvPicPr>
            <a:picLocks noChangeAspect="1" noChangeArrowheads="1"/>
          </p:cNvPicPr>
          <p:nvPr>
            <p:custDataLst>
              <p:tags r:id="rId34"/>
            </p:custDataLst>
          </p:nvPr>
        </p:nvPicPr>
        <p:blipFill>
          <a:blip r:embed="rId123" cstate="print"/>
          <a:srcRect/>
          <a:stretch>
            <a:fillRect/>
          </a:stretch>
        </p:blipFill>
        <p:spPr bwMode="auto">
          <a:xfrm flipV="1">
            <a:off x="7697234" y="4475493"/>
            <a:ext cx="6762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Rectangle 86"/>
          <p:cNvSpPr/>
          <p:nvPr>
            <p:custDataLst>
              <p:tags r:id="rId35"/>
            </p:custDataLst>
          </p:nvPr>
        </p:nvSpPr>
        <p:spPr bwMode="auto">
          <a:xfrm flipH="1">
            <a:off x="5033091" y="4735525"/>
            <a:ext cx="567690" cy="46863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AC</a:t>
            </a:r>
          </a:p>
        </p:txBody>
      </p:sp>
      <p:grpSp>
        <p:nvGrpSpPr>
          <p:cNvPr id="59" name="Group 87"/>
          <p:cNvGrpSpPr/>
          <p:nvPr>
            <p:custDataLst>
              <p:tags r:id="rId36"/>
            </p:custDataLst>
          </p:nvPr>
        </p:nvGrpSpPr>
        <p:grpSpPr>
          <a:xfrm>
            <a:off x="3711021" y="4312615"/>
            <a:ext cx="213360" cy="203482"/>
            <a:chOff x="2133600" y="4126230"/>
            <a:chExt cx="411480" cy="392430"/>
          </a:xfrm>
          <a:solidFill>
            <a:srgbClr val="FFC000"/>
          </a:solidFill>
        </p:grpSpPr>
        <p:sp>
          <p:nvSpPr>
            <p:cNvPr id="60" name="Oval 88"/>
            <p:cNvSpPr/>
            <p:nvPr>
              <p:custDataLst>
                <p:tags r:id="rId106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Oval 89"/>
            <p:cNvSpPr/>
            <p:nvPr>
              <p:custDataLst>
                <p:tags r:id="rId107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Group 90"/>
          <p:cNvGrpSpPr/>
          <p:nvPr>
            <p:custDataLst>
              <p:tags r:id="rId37"/>
            </p:custDataLst>
          </p:nvPr>
        </p:nvGrpSpPr>
        <p:grpSpPr>
          <a:xfrm>
            <a:off x="4503501" y="4312615"/>
            <a:ext cx="213360" cy="203482"/>
            <a:chOff x="2133600" y="4126230"/>
            <a:chExt cx="411480" cy="392430"/>
          </a:xfrm>
          <a:solidFill>
            <a:srgbClr val="FFC000"/>
          </a:solidFill>
        </p:grpSpPr>
        <p:sp>
          <p:nvSpPr>
            <p:cNvPr id="63" name="Oval 91"/>
            <p:cNvSpPr/>
            <p:nvPr>
              <p:custDataLst>
                <p:tags r:id="rId104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Oval 92"/>
            <p:cNvSpPr/>
            <p:nvPr>
              <p:custDataLst>
                <p:tags r:id="rId105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5" name="Group 93"/>
          <p:cNvGrpSpPr/>
          <p:nvPr>
            <p:custDataLst>
              <p:tags r:id="rId38"/>
            </p:custDataLst>
          </p:nvPr>
        </p:nvGrpSpPr>
        <p:grpSpPr>
          <a:xfrm>
            <a:off x="5821761" y="4312615"/>
            <a:ext cx="213360" cy="203482"/>
            <a:chOff x="2133600" y="4126230"/>
            <a:chExt cx="411480" cy="392430"/>
          </a:xfrm>
          <a:solidFill>
            <a:srgbClr val="FFC000"/>
          </a:solidFill>
        </p:grpSpPr>
        <p:sp>
          <p:nvSpPr>
            <p:cNvPr id="66" name="Oval 94"/>
            <p:cNvSpPr/>
            <p:nvPr>
              <p:custDataLst>
                <p:tags r:id="rId102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7" name="Oval 95"/>
            <p:cNvSpPr/>
            <p:nvPr>
              <p:custDataLst>
                <p:tags r:id="rId103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8" name="Group 96"/>
          <p:cNvGrpSpPr/>
          <p:nvPr>
            <p:custDataLst>
              <p:tags r:id="rId39"/>
            </p:custDataLst>
          </p:nvPr>
        </p:nvGrpSpPr>
        <p:grpSpPr>
          <a:xfrm>
            <a:off x="6488511" y="4312615"/>
            <a:ext cx="213360" cy="203482"/>
            <a:chOff x="2133600" y="4126230"/>
            <a:chExt cx="411480" cy="392430"/>
          </a:xfrm>
          <a:solidFill>
            <a:srgbClr val="FFC000"/>
          </a:solidFill>
        </p:grpSpPr>
        <p:sp>
          <p:nvSpPr>
            <p:cNvPr id="69" name="Oval 97"/>
            <p:cNvSpPr/>
            <p:nvPr>
              <p:custDataLst>
                <p:tags r:id="rId100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0" name="Oval 98"/>
            <p:cNvSpPr/>
            <p:nvPr>
              <p:custDataLst>
                <p:tags r:id="rId101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71" name="Group 99"/>
          <p:cNvGrpSpPr/>
          <p:nvPr>
            <p:custDataLst>
              <p:tags r:id="rId40"/>
            </p:custDataLst>
          </p:nvPr>
        </p:nvGrpSpPr>
        <p:grpSpPr>
          <a:xfrm>
            <a:off x="7166691" y="4312615"/>
            <a:ext cx="213360" cy="203482"/>
            <a:chOff x="2133600" y="4126230"/>
            <a:chExt cx="411480" cy="392430"/>
          </a:xfrm>
          <a:solidFill>
            <a:srgbClr val="FFC000"/>
          </a:solidFill>
        </p:grpSpPr>
        <p:sp>
          <p:nvSpPr>
            <p:cNvPr id="72" name="Oval 100"/>
            <p:cNvSpPr/>
            <p:nvPr>
              <p:custDataLst>
                <p:tags r:id="rId98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3" name="Oval 101"/>
            <p:cNvSpPr/>
            <p:nvPr>
              <p:custDataLst>
                <p:tags r:id="rId99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74" name="Group 102"/>
          <p:cNvGrpSpPr/>
          <p:nvPr>
            <p:custDataLst>
              <p:tags r:id="rId41"/>
            </p:custDataLst>
          </p:nvPr>
        </p:nvGrpSpPr>
        <p:grpSpPr>
          <a:xfrm>
            <a:off x="7822011" y="4312615"/>
            <a:ext cx="213360" cy="203482"/>
            <a:chOff x="2133600" y="4126230"/>
            <a:chExt cx="411480" cy="392430"/>
          </a:xfrm>
          <a:solidFill>
            <a:srgbClr val="FFC000"/>
          </a:solidFill>
        </p:grpSpPr>
        <p:sp>
          <p:nvSpPr>
            <p:cNvPr id="75" name="Oval 103"/>
            <p:cNvSpPr/>
            <p:nvPr>
              <p:custDataLst>
                <p:tags r:id="rId96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76" name="Oval 104"/>
            <p:cNvSpPr/>
            <p:nvPr>
              <p:custDataLst>
                <p:tags r:id="rId97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77" name="Group 107"/>
          <p:cNvGrpSpPr/>
          <p:nvPr>
            <p:custDataLst>
              <p:tags r:id="rId42"/>
            </p:custDataLst>
          </p:nvPr>
        </p:nvGrpSpPr>
        <p:grpSpPr>
          <a:xfrm>
            <a:off x="9025971" y="1428445"/>
            <a:ext cx="1277660" cy="434340"/>
            <a:chOff x="-57150" y="1188720"/>
            <a:chExt cx="1668780" cy="731520"/>
          </a:xfrm>
          <a:solidFill>
            <a:srgbClr val="FFFF99"/>
          </a:solidFill>
        </p:grpSpPr>
        <p:sp>
          <p:nvSpPr>
            <p:cNvPr id="78" name="Flowchart: Magnetic Disk 105"/>
            <p:cNvSpPr/>
            <p:nvPr/>
          </p:nvSpPr>
          <p:spPr bwMode="auto">
            <a:xfrm rot="16200000">
              <a:off x="411480" y="720090"/>
              <a:ext cx="731520" cy="1668780"/>
            </a:xfrm>
            <a:prstGeom prst="flowChartMagneticDisk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non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9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      Planta eléctrica</a:t>
              </a:r>
            </a:p>
          </p:txBody>
        </p:sp>
        <p:sp>
          <p:nvSpPr>
            <p:cNvPr id="79" name="Freeform 106"/>
            <p:cNvSpPr/>
            <p:nvPr/>
          </p:nvSpPr>
          <p:spPr bwMode="auto">
            <a:xfrm>
              <a:off x="476560" y="1705636"/>
              <a:ext cx="1081469" cy="57149"/>
            </a:xfrm>
            <a:custGeom>
              <a:avLst/>
              <a:gdLst>
                <a:gd name="connsiteX0" fmla="*/ 0 w 960120"/>
                <a:gd name="connsiteY0" fmla="*/ 57150 h 57150"/>
                <a:gd name="connsiteX1" fmla="*/ 68580 w 960120"/>
                <a:gd name="connsiteY1" fmla="*/ 11430 h 57150"/>
                <a:gd name="connsiteX2" fmla="*/ 137160 w 960120"/>
                <a:gd name="connsiteY2" fmla="*/ 45720 h 57150"/>
                <a:gd name="connsiteX3" fmla="*/ 262890 w 960120"/>
                <a:gd name="connsiteY3" fmla="*/ 11430 h 57150"/>
                <a:gd name="connsiteX4" fmla="*/ 354330 w 960120"/>
                <a:gd name="connsiteY4" fmla="*/ 45720 h 57150"/>
                <a:gd name="connsiteX5" fmla="*/ 468630 w 960120"/>
                <a:gd name="connsiteY5" fmla="*/ 11430 h 57150"/>
                <a:gd name="connsiteX6" fmla="*/ 525780 w 960120"/>
                <a:gd name="connsiteY6" fmla="*/ 45720 h 57150"/>
                <a:gd name="connsiteX7" fmla="*/ 628650 w 960120"/>
                <a:gd name="connsiteY7" fmla="*/ 11430 h 57150"/>
                <a:gd name="connsiteX8" fmla="*/ 685800 w 960120"/>
                <a:gd name="connsiteY8" fmla="*/ 45720 h 57150"/>
                <a:gd name="connsiteX9" fmla="*/ 800100 w 960120"/>
                <a:gd name="connsiteY9" fmla="*/ 11430 h 57150"/>
                <a:gd name="connsiteX10" fmla="*/ 880110 w 960120"/>
                <a:gd name="connsiteY10" fmla="*/ 34290 h 57150"/>
                <a:gd name="connsiteX11" fmla="*/ 960120 w 960120"/>
                <a:gd name="connsiteY11" fmla="*/ 0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0120" h="57150">
                  <a:moveTo>
                    <a:pt x="0" y="57150"/>
                  </a:moveTo>
                  <a:cubicBezTo>
                    <a:pt x="22860" y="35242"/>
                    <a:pt x="45720" y="13335"/>
                    <a:pt x="68580" y="11430"/>
                  </a:cubicBezTo>
                  <a:cubicBezTo>
                    <a:pt x="91440" y="9525"/>
                    <a:pt x="104775" y="45720"/>
                    <a:pt x="137160" y="45720"/>
                  </a:cubicBezTo>
                  <a:cubicBezTo>
                    <a:pt x="169545" y="45720"/>
                    <a:pt x="226695" y="11430"/>
                    <a:pt x="262890" y="11430"/>
                  </a:cubicBezTo>
                  <a:cubicBezTo>
                    <a:pt x="299085" y="11430"/>
                    <a:pt x="320040" y="45720"/>
                    <a:pt x="354330" y="45720"/>
                  </a:cubicBezTo>
                  <a:cubicBezTo>
                    <a:pt x="388620" y="45720"/>
                    <a:pt x="440055" y="11430"/>
                    <a:pt x="468630" y="11430"/>
                  </a:cubicBezTo>
                  <a:cubicBezTo>
                    <a:pt x="497205" y="11430"/>
                    <a:pt x="499110" y="45720"/>
                    <a:pt x="525780" y="45720"/>
                  </a:cubicBezTo>
                  <a:cubicBezTo>
                    <a:pt x="552450" y="45720"/>
                    <a:pt x="601980" y="11430"/>
                    <a:pt x="628650" y="11430"/>
                  </a:cubicBezTo>
                  <a:cubicBezTo>
                    <a:pt x="655320" y="11430"/>
                    <a:pt x="657225" y="45720"/>
                    <a:pt x="685800" y="45720"/>
                  </a:cubicBezTo>
                  <a:cubicBezTo>
                    <a:pt x="714375" y="45720"/>
                    <a:pt x="767715" y="13335"/>
                    <a:pt x="800100" y="11430"/>
                  </a:cubicBezTo>
                  <a:cubicBezTo>
                    <a:pt x="832485" y="9525"/>
                    <a:pt x="853440" y="36195"/>
                    <a:pt x="880110" y="34290"/>
                  </a:cubicBezTo>
                  <a:cubicBezTo>
                    <a:pt x="906780" y="32385"/>
                    <a:pt x="933450" y="16192"/>
                    <a:pt x="960120" y="0"/>
                  </a:cubicBezTo>
                </a:path>
              </a:pathLst>
            </a:cu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80" name="Group 108"/>
          <p:cNvGrpSpPr/>
          <p:nvPr/>
        </p:nvGrpSpPr>
        <p:grpSpPr>
          <a:xfrm>
            <a:off x="3070941" y="6202375"/>
            <a:ext cx="213360" cy="203482"/>
            <a:chOff x="2133600" y="4126230"/>
            <a:chExt cx="411480" cy="392430"/>
          </a:xfrm>
          <a:solidFill>
            <a:srgbClr val="66CC00"/>
          </a:solidFill>
        </p:grpSpPr>
        <p:sp>
          <p:nvSpPr>
            <p:cNvPr id="81" name="Oval 109"/>
            <p:cNvSpPr/>
            <p:nvPr>
              <p:custDataLst>
                <p:tags r:id="rId94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2" name="Oval 110"/>
            <p:cNvSpPr/>
            <p:nvPr>
              <p:custDataLst>
                <p:tags r:id="rId95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83" name="Group 114"/>
          <p:cNvGrpSpPr/>
          <p:nvPr>
            <p:custDataLst>
              <p:tags r:id="rId43"/>
            </p:custDataLst>
          </p:nvPr>
        </p:nvGrpSpPr>
        <p:grpSpPr>
          <a:xfrm>
            <a:off x="3859611" y="3649675"/>
            <a:ext cx="213360" cy="203482"/>
            <a:chOff x="2133600" y="4126230"/>
            <a:chExt cx="411480" cy="392430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84" name="Oval 115"/>
            <p:cNvSpPr/>
            <p:nvPr>
              <p:custDataLst>
                <p:tags r:id="rId92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5" name="Oval 116"/>
            <p:cNvSpPr/>
            <p:nvPr>
              <p:custDataLst>
                <p:tags r:id="rId93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86" name="Group 117"/>
          <p:cNvGrpSpPr/>
          <p:nvPr>
            <p:custDataLst>
              <p:tags r:id="rId44"/>
            </p:custDataLst>
          </p:nvPr>
        </p:nvGrpSpPr>
        <p:grpSpPr>
          <a:xfrm>
            <a:off x="4652091" y="3649675"/>
            <a:ext cx="213360" cy="203482"/>
            <a:chOff x="2133600" y="4126230"/>
            <a:chExt cx="411480" cy="392430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87" name="Oval 118"/>
            <p:cNvSpPr/>
            <p:nvPr>
              <p:custDataLst>
                <p:tags r:id="rId90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8" name="Oval 119"/>
            <p:cNvSpPr/>
            <p:nvPr>
              <p:custDataLst>
                <p:tags r:id="rId91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89" name="Group 120"/>
          <p:cNvGrpSpPr/>
          <p:nvPr>
            <p:custDataLst>
              <p:tags r:id="rId45"/>
            </p:custDataLst>
          </p:nvPr>
        </p:nvGrpSpPr>
        <p:grpSpPr>
          <a:xfrm>
            <a:off x="5970351" y="3649675"/>
            <a:ext cx="213360" cy="203482"/>
            <a:chOff x="2133600" y="4126230"/>
            <a:chExt cx="411480" cy="392430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90" name="Oval 121"/>
            <p:cNvSpPr/>
            <p:nvPr>
              <p:custDataLst>
                <p:tags r:id="rId88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1" name="Oval 122"/>
            <p:cNvSpPr/>
            <p:nvPr>
              <p:custDataLst>
                <p:tags r:id="rId89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92" name="Group 123"/>
          <p:cNvGrpSpPr/>
          <p:nvPr>
            <p:custDataLst>
              <p:tags r:id="rId46"/>
            </p:custDataLst>
          </p:nvPr>
        </p:nvGrpSpPr>
        <p:grpSpPr>
          <a:xfrm>
            <a:off x="6637101" y="3649675"/>
            <a:ext cx="213360" cy="203482"/>
            <a:chOff x="2133600" y="4126230"/>
            <a:chExt cx="411480" cy="392430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93" name="Oval 124"/>
            <p:cNvSpPr/>
            <p:nvPr>
              <p:custDataLst>
                <p:tags r:id="rId86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4" name="Oval 125"/>
            <p:cNvSpPr/>
            <p:nvPr>
              <p:custDataLst>
                <p:tags r:id="rId87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95" name="Group 126"/>
          <p:cNvGrpSpPr/>
          <p:nvPr>
            <p:custDataLst>
              <p:tags r:id="rId47"/>
            </p:custDataLst>
          </p:nvPr>
        </p:nvGrpSpPr>
        <p:grpSpPr>
          <a:xfrm>
            <a:off x="7315281" y="3649675"/>
            <a:ext cx="213360" cy="203482"/>
            <a:chOff x="2133600" y="4126230"/>
            <a:chExt cx="411480" cy="392430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96" name="Oval 127"/>
            <p:cNvSpPr/>
            <p:nvPr>
              <p:custDataLst>
                <p:tags r:id="rId84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7" name="Oval 128"/>
            <p:cNvSpPr/>
            <p:nvPr>
              <p:custDataLst>
                <p:tags r:id="rId85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98" name="Group 129"/>
          <p:cNvGrpSpPr/>
          <p:nvPr>
            <p:custDataLst>
              <p:tags r:id="rId48"/>
            </p:custDataLst>
          </p:nvPr>
        </p:nvGrpSpPr>
        <p:grpSpPr>
          <a:xfrm>
            <a:off x="7970601" y="3649675"/>
            <a:ext cx="213360" cy="203482"/>
            <a:chOff x="2133600" y="4126230"/>
            <a:chExt cx="411480" cy="392430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99" name="Oval 130"/>
            <p:cNvSpPr/>
            <p:nvPr>
              <p:custDataLst>
                <p:tags r:id="rId82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0" name="Oval 131"/>
            <p:cNvSpPr/>
            <p:nvPr>
              <p:custDataLst>
                <p:tags r:id="rId83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01" name="Group 132"/>
          <p:cNvGrpSpPr/>
          <p:nvPr>
            <p:custDataLst>
              <p:tags r:id="rId49"/>
            </p:custDataLst>
          </p:nvPr>
        </p:nvGrpSpPr>
        <p:grpSpPr>
          <a:xfrm>
            <a:off x="3874851" y="4304995"/>
            <a:ext cx="213360" cy="203482"/>
            <a:chOff x="2133600" y="4126230"/>
            <a:chExt cx="411480" cy="392430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02" name="Oval 133"/>
            <p:cNvSpPr/>
            <p:nvPr>
              <p:custDataLst>
                <p:tags r:id="rId80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3" name="Oval 134"/>
            <p:cNvSpPr/>
            <p:nvPr>
              <p:custDataLst>
                <p:tags r:id="rId81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04" name="Group 135"/>
          <p:cNvGrpSpPr/>
          <p:nvPr>
            <p:custDataLst>
              <p:tags r:id="rId50"/>
            </p:custDataLst>
          </p:nvPr>
        </p:nvGrpSpPr>
        <p:grpSpPr>
          <a:xfrm>
            <a:off x="4667331" y="4304995"/>
            <a:ext cx="213360" cy="203482"/>
            <a:chOff x="2133600" y="4126230"/>
            <a:chExt cx="411480" cy="392430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05" name="Oval 136"/>
            <p:cNvSpPr/>
            <p:nvPr>
              <p:custDataLst>
                <p:tags r:id="rId78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6" name="Oval 137"/>
            <p:cNvSpPr/>
            <p:nvPr>
              <p:custDataLst>
                <p:tags r:id="rId79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07" name="Group 138"/>
          <p:cNvGrpSpPr/>
          <p:nvPr>
            <p:custDataLst>
              <p:tags r:id="rId51"/>
            </p:custDataLst>
          </p:nvPr>
        </p:nvGrpSpPr>
        <p:grpSpPr>
          <a:xfrm>
            <a:off x="5985591" y="4304995"/>
            <a:ext cx="213360" cy="203482"/>
            <a:chOff x="2133600" y="4126230"/>
            <a:chExt cx="411480" cy="392430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08" name="Oval 139"/>
            <p:cNvSpPr/>
            <p:nvPr>
              <p:custDataLst>
                <p:tags r:id="rId76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9" name="Oval 140"/>
            <p:cNvSpPr/>
            <p:nvPr>
              <p:custDataLst>
                <p:tags r:id="rId77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10" name="Group 141"/>
          <p:cNvGrpSpPr/>
          <p:nvPr>
            <p:custDataLst>
              <p:tags r:id="rId52"/>
            </p:custDataLst>
          </p:nvPr>
        </p:nvGrpSpPr>
        <p:grpSpPr>
          <a:xfrm>
            <a:off x="6652341" y="4304995"/>
            <a:ext cx="213360" cy="203482"/>
            <a:chOff x="2133600" y="4126230"/>
            <a:chExt cx="411480" cy="392430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11" name="Oval 142"/>
            <p:cNvSpPr/>
            <p:nvPr>
              <p:custDataLst>
                <p:tags r:id="rId74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2" name="Oval 143"/>
            <p:cNvSpPr/>
            <p:nvPr>
              <p:custDataLst>
                <p:tags r:id="rId75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13" name="Group 144"/>
          <p:cNvGrpSpPr/>
          <p:nvPr>
            <p:custDataLst>
              <p:tags r:id="rId53"/>
            </p:custDataLst>
          </p:nvPr>
        </p:nvGrpSpPr>
        <p:grpSpPr>
          <a:xfrm>
            <a:off x="7330521" y="4304995"/>
            <a:ext cx="213360" cy="203482"/>
            <a:chOff x="2133600" y="4126230"/>
            <a:chExt cx="411480" cy="392430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14" name="Oval 145"/>
            <p:cNvSpPr/>
            <p:nvPr>
              <p:custDataLst>
                <p:tags r:id="rId72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5" name="Oval 146"/>
            <p:cNvSpPr/>
            <p:nvPr>
              <p:custDataLst>
                <p:tags r:id="rId73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16" name="Group 147"/>
          <p:cNvGrpSpPr/>
          <p:nvPr>
            <p:custDataLst>
              <p:tags r:id="rId54"/>
            </p:custDataLst>
          </p:nvPr>
        </p:nvGrpSpPr>
        <p:grpSpPr>
          <a:xfrm>
            <a:off x="7985841" y="4304995"/>
            <a:ext cx="213360" cy="203482"/>
            <a:chOff x="2133600" y="4126230"/>
            <a:chExt cx="411480" cy="392430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17" name="Oval 148"/>
            <p:cNvSpPr/>
            <p:nvPr>
              <p:custDataLst>
                <p:tags r:id="rId70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8" name="Oval 149"/>
            <p:cNvSpPr/>
            <p:nvPr>
              <p:custDataLst>
                <p:tags r:id="rId71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19" name="Can 160"/>
          <p:cNvSpPr/>
          <p:nvPr/>
        </p:nvSpPr>
        <p:spPr bwMode="auto">
          <a:xfrm rot="5400000">
            <a:off x="6259912" y="148285"/>
            <a:ext cx="85725" cy="4623438"/>
          </a:xfrm>
          <a:prstGeom prst="can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0" name="Can 161"/>
          <p:cNvSpPr/>
          <p:nvPr/>
        </p:nvSpPr>
        <p:spPr bwMode="auto">
          <a:xfrm rot="5400000">
            <a:off x="6286583" y="3409646"/>
            <a:ext cx="85725" cy="4623438"/>
          </a:xfrm>
          <a:prstGeom prst="can">
            <a:avLst/>
          </a:pr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121" name="Group 162"/>
          <p:cNvGrpSpPr/>
          <p:nvPr/>
        </p:nvGrpSpPr>
        <p:grpSpPr>
          <a:xfrm>
            <a:off x="9566991" y="6171895"/>
            <a:ext cx="213360" cy="203482"/>
            <a:chOff x="2133600" y="4126230"/>
            <a:chExt cx="411480" cy="39243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122" name="Oval 163"/>
            <p:cNvSpPr/>
            <p:nvPr>
              <p:custDataLst>
                <p:tags r:id="rId68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3" name="Oval 164"/>
            <p:cNvSpPr/>
            <p:nvPr>
              <p:custDataLst>
                <p:tags r:id="rId69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24" name="Group 165"/>
          <p:cNvGrpSpPr/>
          <p:nvPr/>
        </p:nvGrpSpPr>
        <p:grpSpPr>
          <a:xfrm>
            <a:off x="2747091" y="2221804"/>
            <a:ext cx="213360" cy="203482"/>
            <a:chOff x="2133600" y="4126230"/>
            <a:chExt cx="411480" cy="39243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125" name="Oval 166"/>
            <p:cNvSpPr/>
            <p:nvPr>
              <p:custDataLst>
                <p:tags r:id="rId66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6" name="Oval 167"/>
            <p:cNvSpPr/>
            <p:nvPr>
              <p:custDataLst>
                <p:tags r:id="rId67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27" name="Group 168"/>
          <p:cNvGrpSpPr/>
          <p:nvPr/>
        </p:nvGrpSpPr>
        <p:grpSpPr>
          <a:xfrm>
            <a:off x="2716611" y="4213555"/>
            <a:ext cx="213360" cy="203482"/>
            <a:chOff x="2133600" y="4126230"/>
            <a:chExt cx="411480" cy="39243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128" name="Oval 169"/>
            <p:cNvSpPr/>
            <p:nvPr>
              <p:custDataLst>
                <p:tags r:id="rId64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9" name="Oval 170"/>
            <p:cNvSpPr/>
            <p:nvPr>
              <p:custDataLst>
                <p:tags r:id="rId65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30" name="TextBox 171"/>
          <p:cNvSpPr txBox="1"/>
          <p:nvPr/>
        </p:nvSpPr>
        <p:spPr>
          <a:xfrm>
            <a:off x="2568021" y="6522415"/>
            <a:ext cx="1554480" cy="228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+mj-lt"/>
              </a:rPr>
              <a:t>Política de control de acceso</a:t>
            </a:r>
            <a:endParaRPr lang="es-CO" sz="900" dirty="0">
              <a:latin typeface="+mj-lt"/>
            </a:endParaRPr>
          </a:p>
        </p:txBody>
      </p:sp>
      <p:sp>
        <p:nvSpPr>
          <p:cNvPr id="131" name="TextBox 172"/>
          <p:cNvSpPr txBox="1"/>
          <p:nvPr/>
        </p:nvSpPr>
        <p:spPr>
          <a:xfrm>
            <a:off x="6938091" y="6521299"/>
            <a:ext cx="20307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+mj-lt"/>
              </a:rPr>
              <a:t>Sensores de filtraciones bajo piso falso</a:t>
            </a:r>
            <a:endParaRPr lang="es-CO" sz="900" dirty="0">
              <a:latin typeface="+mj-lt"/>
            </a:endParaRPr>
          </a:p>
        </p:txBody>
      </p:sp>
      <p:sp>
        <p:nvSpPr>
          <p:cNvPr id="132" name="TextBox 173"/>
          <p:cNvSpPr txBox="1"/>
          <p:nvPr/>
        </p:nvSpPr>
        <p:spPr>
          <a:xfrm rot="16200000">
            <a:off x="1516576" y="5435449"/>
            <a:ext cx="17526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+mj-lt"/>
              </a:rPr>
              <a:t>Sensores de apertura de puertas</a:t>
            </a:r>
            <a:endParaRPr lang="es-CO" sz="900" dirty="0">
              <a:latin typeface="+mj-lt"/>
            </a:endParaRPr>
          </a:p>
        </p:txBody>
      </p:sp>
      <p:sp>
        <p:nvSpPr>
          <p:cNvPr id="133" name="TextBox 174"/>
          <p:cNvSpPr txBox="1"/>
          <p:nvPr/>
        </p:nvSpPr>
        <p:spPr>
          <a:xfrm>
            <a:off x="2628981" y="1525600"/>
            <a:ext cx="910590" cy="236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+mj-lt"/>
              </a:rPr>
              <a:t>Cámaras CCTV</a:t>
            </a:r>
            <a:endParaRPr lang="es-CO" sz="900" dirty="0">
              <a:latin typeface="+mj-lt"/>
            </a:endParaRPr>
          </a:p>
        </p:txBody>
      </p:sp>
      <p:sp>
        <p:nvSpPr>
          <p:cNvPr id="134" name="TextBox 175"/>
          <p:cNvSpPr txBox="1"/>
          <p:nvPr/>
        </p:nvSpPr>
        <p:spPr>
          <a:xfrm rot="16200000">
            <a:off x="1674691" y="2854174"/>
            <a:ext cx="14363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+mj-lt"/>
              </a:rPr>
              <a:t>Sensores de movimiento</a:t>
            </a:r>
            <a:endParaRPr lang="es-CO" sz="900" dirty="0">
              <a:latin typeface="+mj-lt"/>
            </a:endParaRPr>
          </a:p>
        </p:txBody>
      </p:sp>
      <p:sp>
        <p:nvSpPr>
          <p:cNvPr id="135" name="TextBox 176"/>
          <p:cNvSpPr txBox="1"/>
          <p:nvPr/>
        </p:nvSpPr>
        <p:spPr>
          <a:xfrm>
            <a:off x="6899991" y="1530988"/>
            <a:ext cx="22212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+mj-lt"/>
              </a:rPr>
              <a:t>Niveles de combustible en planta eléctrica</a:t>
            </a:r>
            <a:endParaRPr lang="es-CO" sz="900" dirty="0">
              <a:latin typeface="+mj-lt"/>
            </a:endParaRPr>
          </a:p>
        </p:txBody>
      </p:sp>
      <p:sp>
        <p:nvSpPr>
          <p:cNvPr id="136" name="TextBox 177"/>
          <p:cNvSpPr txBox="1"/>
          <p:nvPr/>
        </p:nvSpPr>
        <p:spPr>
          <a:xfrm>
            <a:off x="8633541" y="3965905"/>
            <a:ext cx="12382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+mj-lt"/>
              </a:rPr>
              <a:t>Sensores de humedad</a:t>
            </a:r>
            <a:endParaRPr lang="es-CO" sz="900" dirty="0">
              <a:latin typeface="+mj-lt"/>
            </a:endParaRPr>
          </a:p>
        </p:txBody>
      </p:sp>
      <p:sp>
        <p:nvSpPr>
          <p:cNvPr id="137" name="TextBox 178"/>
          <p:cNvSpPr txBox="1"/>
          <p:nvPr/>
        </p:nvSpPr>
        <p:spPr>
          <a:xfrm>
            <a:off x="3802461" y="3965905"/>
            <a:ext cx="147447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+mj-lt"/>
              </a:rPr>
              <a:t>Sensores de temperatura</a:t>
            </a:r>
            <a:endParaRPr lang="es-CO" sz="900" dirty="0">
              <a:latin typeface="+mj-lt"/>
            </a:endParaRPr>
          </a:p>
        </p:txBody>
      </p:sp>
      <p:grpSp>
        <p:nvGrpSpPr>
          <p:cNvPr id="138" name="Group 180"/>
          <p:cNvGrpSpPr/>
          <p:nvPr/>
        </p:nvGrpSpPr>
        <p:grpSpPr>
          <a:xfrm>
            <a:off x="4526361" y="5989015"/>
            <a:ext cx="213360" cy="203482"/>
            <a:chOff x="2133600" y="4126230"/>
            <a:chExt cx="411480" cy="392430"/>
          </a:xfrm>
          <a:solidFill>
            <a:schemeClr val="accent1">
              <a:lumMod val="75000"/>
            </a:schemeClr>
          </a:solidFill>
        </p:grpSpPr>
        <p:sp>
          <p:nvSpPr>
            <p:cNvPr id="139" name="Oval 181"/>
            <p:cNvSpPr/>
            <p:nvPr>
              <p:custDataLst>
                <p:tags r:id="rId62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0" name="Oval 182"/>
            <p:cNvSpPr/>
            <p:nvPr>
              <p:custDataLst>
                <p:tags r:id="rId63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41" name="Group 183"/>
          <p:cNvGrpSpPr/>
          <p:nvPr/>
        </p:nvGrpSpPr>
        <p:grpSpPr>
          <a:xfrm>
            <a:off x="7810581" y="5989015"/>
            <a:ext cx="213360" cy="203482"/>
            <a:chOff x="2133600" y="4126230"/>
            <a:chExt cx="411480" cy="392430"/>
          </a:xfrm>
          <a:solidFill>
            <a:srgbClr val="CC3300"/>
          </a:solidFill>
        </p:grpSpPr>
        <p:sp>
          <p:nvSpPr>
            <p:cNvPr id="142" name="Oval 184"/>
            <p:cNvSpPr/>
            <p:nvPr>
              <p:custDataLst>
                <p:tags r:id="rId60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3" name="Oval 185"/>
            <p:cNvSpPr/>
            <p:nvPr>
              <p:custDataLst>
                <p:tags r:id="rId61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44" name="Group 186"/>
          <p:cNvGrpSpPr/>
          <p:nvPr/>
        </p:nvGrpSpPr>
        <p:grpSpPr>
          <a:xfrm>
            <a:off x="4526361" y="1969465"/>
            <a:ext cx="213360" cy="203482"/>
            <a:chOff x="2133600" y="4126230"/>
            <a:chExt cx="411480" cy="392430"/>
          </a:xfrm>
          <a:solidFill>
            <a:srgbClr val="CC3300"/>
          </a:solidFill>
        </p:grpSpPr>
        <p:sp>
          <p:nvSpPr>
            <p:cNvPr id="145" name="Oval 187"/>
            <p:cNvSpPr/>
            <p:nvPr>
              <p:custDataLst>
                <p:tags r:id="rId58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6" name="Oval 188"/>
            <p:cNvSpPr/>
            <p:nvPr>
              <p:custDataLst>
                <p:tags r:id="rId59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147" name="Group 189"/>
          <p:cNvGrpSpPr/>
          <p:nvPr>
            <p:custDataLst>
              <p:tags r:id="rId55"/>
            </p:custDataLst>
          </p:nvPr>
        </p:nvGrpSpPr>
        <p:grpSpPr>
          <a:xfrm>
            <a:off x="7810581" y="1969465"/>
            <a:ext cx="213360" cy="203482"/>
            <a:chOff x="2133600" y="4126230"/>
            <a:chExt cx="411480" cy="392430"/>
          </a:xfrm>
          <a:solidFill>
            <a:schemeClr val="accent1">
              <a:lumMod val="75000"/>
            </a:schemeClr>
          </a:solidFill>
        </p:grpSpPr>
        <p:sp>
          <p:nvSpPr>
            <p:cNvPr id="148" name="Oval 190"/>
            <p:cNvSpPr/>
            <p:nvPr>
              <p:custDataLst>
                <p:tags r:id="rId56"/>
              </p:custDataLst>
            </p:nvPr>
          </p:nvSpPr>
          <p:spPr bwMode="auto">
            <a:xfrm>
              <a:off x="2133600" y="421005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9" name="Oval 191"/>
            <p:cNvSpPr/>
            <p:nvPr>
              <p:custDataLst>
                <p:tags r:id="rId57"/>
              </p:custDataLst>
            </p:nvPr>
          </p:nvSpPr>
          <p:spPr bwMode="auto">
            <a:xfrm>
              <a:off x="2133600" y="4126230"/>
              <a:ext cx="411480" cy="308610"/>
            </a:xfrm>
            <a:prstGeom prst="ellipse">
              <a:avLst/>
            </a:prstGeom>
            <a:grp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50" name="TextBox 192"/>
          <p:cNvSpPr txBox="1"/>
          <p:nvPr/>
        </p:nvSpPr>
        <p:spPr>
          <a:xfrm>
            <a:off x="4050111" y="1530988"/>
            <a:ext cx="11353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+mj-lt"/>
              </a:rPr>
              <a:t>Sensores de humo</a:t>
            </a:r>
            <a:endParaRPr lang="es-CO" sz="900" dirty="0">
              <a:latin typeface="+mj-lt"/>
            </a:endParaRPr>
          </a:p>
        </p:txBody>
      </p:sp>
      <p:sp>
        <p:nvSpPr>
          <p:cNvPr id="151" name="TextBox 193"/>
          <p:cNvSpPr txBox="1"/>
          <p:nvPr/>
        </p:nvSpPr>
        <p:spPr>
          <a:xfrm>
            <a:off x="4568271" y="6521299"/>
            <a:ext cx="21031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smtClean="0">
                <a:latin typeface="+mj-lt"/>
              </a:rPr>
              <a:t>Sensores de polvo/químicos en el aire</a:t>
            </a:r>
            <a:endParaRPr lang="es-CO" sz="900" dirty="0">
              <a:latin typeface="+mj-lt"/>
            </a:endParaRPr>
          </a:p>
        </p:txBody>
      </p:sp>
      <p:cxnSp>
        <p:nvCxnSpPr>
          <p:cNvPr id="152" name="Shape 195"/>
          <p:cNvCxnSpPr>
            <a:stCxn id="150" idx="2"/>
            <a:endCxn id="146" idx="2"/>
          </p:cNvCxnSpPr>
          <p:nvPr/>
        </p:nvCxnSpPr>
        <p:spPr bwMode="auto">
          <a:xfrm rot="5400000">
            <a:off x="4428254" y="1859927"/>
            <a:ext cx="287655" cy="91440"/>
          </a:xfrm>
          <a:prstGeom prst="curvedConnector4">
            <a:avLst>
              <a:gd name="adj1" fmla="val 36093"/>
              <a:gd name="adj2" fmla="val 35000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3" name="Shape 197"/>
          <p:cNvCxnSpPr>
            <a:stCxn id="134" idx="2"/>
            <a:endCxn id="125" idx="4"/>
          </p:cNvCxnSpPr>
          <p:nvPr/>
        </p:nvCxnSpPr>
        <p:spPr bwMode="auto">
          <a:xfrm flipV="1">
            <a:off x="2508292" y="2425286"/>
            <a:ext cx="345479" cy="544304"/>
          </a:xfrm>
          <a:prstGeom prst="curvedConnector4">
            <a:avLst>
              <a:gd name="adj1" fmla="val 66169"/>
              <a:gd name="adj2" fmla="val 60602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4" name="Curved Connector 203"/>
          <p:cNvCxnSpPr>
            <a:stCxn id="133" idx="1"/>
            <a:endCxn id="17" idx="1"/>
          </p:cNvCxnSpPr>
          <p:nvPr/>
        </p:nvCxnSpPr>
        <p:spPr bwMode="auto">
          <a:xfrm rot="10800000" flipH="1" flipV="1">
            <a:off x="2628981" y="1643710"/>
            <a:ext cx="94052" cy="379382"/>
          </a:xfrm>
          <a:prstGeom prst="curvedConnector3">
            <a:avLst>
              <a:gd name="adj1" fmla="val -243057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5" name="Shape 205"/>
          <p:cNvCxnSpPr>
            <a:stCxn id="132" idx="2"/>
            <a:endCxn id="82" idx="0"/>
          </p:cNvCxnSpPr>
          <p:nvPr/>
        </p:nvCxnSpPr>
        <p:spPr bwMode="auto">
          <a:xfrm>
            <a:off x="2508292" y="5550865"/>
            <a:ext cx="669329" cy="651510"/>
          </a:xfrm>
          <a:prstGeom prst="curvedConnector4">
            <a:avLst>
              <a:gd name="adj1" fmla="val 34154"/>
              <a:gd name="adj2" fmla="val 58858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6" name="Shape 207"/>
          <p:cNvCxnSpPr>
            <a:stCxn id="151" idx="1"/>
            <a:endCxn id="139" idx="4"/>
          </p:cNvCxnSpPr>
          <p:nvPr/>
        </p:nvCxnSpPr>
        <p:spPr bwMode="auto">
          <a:xfrm rot="10800000" flipH="1">
            <a:off x="4568271" y="6192497"/>
            <a:ext cx="64770" cy="444218"/>
          </a:xfrm>
          <a:prstGeom prst="curvedConnector4">
            <a:avLst>
              <a:gd name="adj1" fmla="val -352941"/>
              <a:gd name="adj2" fmla="val 62991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7" name="Curved Connector 209"/>
          <p:cNvCxnSpPr>
            <a:stCxn id="131" idx="3"/>
            <a:endCxn id="120" idx="1"/>
          </p:cNvCxnSpPr>
          <p:nvPr/>
        </p:nvCxnSpPr>
        <p:spPr bwMode="auto">
          <a:xfrm flipH="1" flipV="1">
            <a:off x="8641165" y="5721366"/>
            <a:ext cx="327656" cy="915349"/>
          </a:xfrm>
          <a:prstGeom prst="curvedConnector3">
            <a:avLst>
              <a:gd name="adj1" fmla="val -69768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8" name="Curved Connector 211"/>
          <p:cNvCxnSpPr>
            <a:stCxn id="136" idx="1"/>
            <a:endCxn id="99" idx="6"/>
          </p:cNvCxnSpPr>
          <p:nvPr/>
        </p:nvCxnSpPr>
        <p:spPr bwMode="auto">
          <a:xfrm rot="10800000">
            <a:off x="8183961" y="3773147"/>
            <a:ext cx="449580" cy="308174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9" name="Curved Connector 213"/>
          <p:cNvCxnSpPr>
            <a:stCxn id="137" idx="1"/>
            <a:endCxn id="34" idx="2"/>
          </p:cNvCxnSpPr>
          <p:nvPr/>
        </p:nvCxnSpPr>
        <p:spPr bwMode="auto">
          <a:xfrm rot="10800000">
            <a:off x="3707211" y="3725875"/>
            <a:ext cx="95250" cy="355446"/>
          </a:xfrm>
          <a:prstGeom prst="curvedConnector3">
            <a:avLst>
              <a:gd name="adj1" fmla="val 34000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3371108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8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7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0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3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6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9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2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5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8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1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4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7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0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3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6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9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2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5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98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1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4" dur="2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7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0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3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6" dur="2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9" dur="2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2" dur="2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5" dur="20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8" dur="2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1" dur="2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4" dur="2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7" dur="2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0" dur="2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3" dur="2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6" dur="2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9" dur="2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2" dur="2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5" dur="2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8" dur="2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1" dur="20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4" dur="2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7" dur="20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0" dur="2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3" dur="20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6" dur="20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9" dur="20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2" dur="20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5" dur="20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8" dur="20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1" dur="20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4" dur="20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7" dur="20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0" dur="2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3" dur="20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6" dur="20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9" dur="2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2" dur="20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5" dur="20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18" dur="20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1" dur="20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4" dur="20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7" dur="20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0" dur="20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3" dur="2000"/>
                                        <p:tgtEl>
                                          <p:spTgt spid="1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6" dur="20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9" dur="20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2" dur="20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5" dur="2000"/>
                                        <p:tgtEl>
                                          <p:spTgt spid="1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48" dur="20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1" dur="20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4" dur="20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animBg="1"/>
      <p:bldP spid="6" grpId="0" animBg="1"/>
      <p:bldP spid="7" grpId="0" animBg="1"/>
      <p:bldP spid="9" grpId="0"/>
      <p:bldP spid="10" grpId="0" animBg="1"/>
      <p:bldP spid="11" grpId="0" animBg="1"/>
      <p:bldP spid="13" grpId="0"/>
      <p:bldP spid="14" grpId="0"/>
      <p:bldP spid="15" grpId="0"/>
      <p:bldP spid="31" grpId="0" animBg="1"/>
      <p:bldP spid="50" grpId="0" animBg="1"/>
      <p:bldP spid="51" grpId="0" animBg="1"/>
      <p:bldP spid="58" grpId="0" animBg="1"/>
      <p:bldP spid="119" grpId="0" animBg="1"/>
      <p:bldP spid="120" grpId="0" animBg="1"/>
      <p:bldP spid="130" grpId="0"/>
      <p:bldP spid="131" grpId="0"/>
      <p:bldP spid="132" grpId="0"/>
      <p:bldP spid="133" grpId="0"/>
      <p:bldP spid="134" grpId="0"/>
      <p:bldP spid="135" grpId="0"/>
      <p:bldP spid="136" grpId="0"/>
      <p:bldP spid="137" grpId="0"/>
      <p:bldP spid="150" grpId="0"/>
      <p:bldP spid="151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090005" y="563150"/>
            <a:ext cx="8911687" cy="8078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C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evo Modelo operativo</a:t>
            </a:r>
          </a:p>
        </p:txBody>
      </p:sp>
      <p:sp>
        <p:nvSpPr>
          <p:cNvPr id="17" name="Title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090005" y="1262405"/>
            <a:ext cx="7783552" cy="550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CO" sz="2000" b="1" dirty="0" smtClean="0">
                <a:solidFill>
                  <a:schemeClr val="accent1"/>
                </a:solidFill>
              </a:rPr>
              <a:t>Administración de Datos</a:t>
            </a:r>
            <a:endParaRPr lang="es-CO" sz="2000" b="1" dirty="0">
              <a:solidFill>
                <a:schemeClr val="accent1"/>
              </a:solidFill>
            </a:endParaRPr>
          </a:p>
        </p:txBody>
      </p:sp>
      <p:grpSp>
        <p:nvGrpSpPr>
          <p:cNvPr id="18" name="Group 14"/>
          <p:cNvGrpSpPr/>
          <p:nvPr/>
        </p:nvGrpSpPr>
        <p:grpSpPr>
          <a:xfrm>
            <a:off x="3749040" y="1722112"/>
            <a:ext cx="5265420" cy="4852035"/>
            <a:chOff x="1626870" y="1129665"/>
            <a:chExt cx="5265420" cy="4852035"/>
          </a:xfrm>
        </p:grpSpPr>
        <p:sp>
          <p:nvSpPr>
            <p:cNvPr id="19" name="Oval 9"/>
            <p:cNvSpPr/>
            <p:nvPr>
              <p:custDataLst>
                <p:tags r:id="rId2"/>
              </p:custDataLst>
            </p:nvPr>
          </p:nvSpPr>
          <p:spPr bwMode="auto">
            <a:xfrm>
              <a:off x="1840230" y="1129665"/>
              <a:ext cx="4852035" cy="4852035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0" name="Oval 7"/>
            <p:cNvSpPr/>
            <p:nvPr>
              <p:custDataLst>
                <p:tags r:id="rId3"/>
              </p:custDataLst>
            </p:nvPr>
          </p:nvSpPr>
          <p:spPr bwMode="auto">
            <a:xfrm>
              <a:off x="2077402" y="1366837"/>
              <a:ext cx="4377690" cy="437769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aphicFrame>
          <p:nvGraphicFramePr>
            <p:cNvPr id="21" name="Diagram 4"/>
            <p:cNvGraphicFramePr/>
            <p:nvPr>
              <p:custDataLst>
                <p:tags r:id="rId4"/>
              </p:custDataLst>
            </p:nvPr>
          </p:nvGraphicFramePr>
          <p:xfrm>
            <a:off x="1626870" y="1588607"/>
            <a:ext cx="5265420" cy="408083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graphicFrame>
          <p:nvGraphicFramePr>
            <p:cNvPr id="22" name="Diagram 6"/>
            <p:cNvGraphicFramePr/>
            <p:nvPr>
              <p:custDataLst>
                <p:tags r:id="rId5"/>
              </p:custDataLst>
            </p:nvPr>
          </p:nvGraphicFramePr>
          <p:xfrm>
            <a:off x="2327763" y="2173410"/>
            <a:ext cx="3885908" cy="2590605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2" r:lo="rId13" r:qs="rId14" r:cs="rId15"/>
            </a:graphicData>
          </a:graphic>
        </p:graphicFrame>
        <p:sp>
          <p:nvSpPr>
            <p:cNvPr id="23" name="TextBox 10"/>
            <p:cNvSpPr txBox="1"/>
            <p:nvPr/>
          </p:nvSpPr>
          <p:spPr>
            <a:xfrm rot="250897">
              <a:off x="2690942" y="1279997"/>
              <a:ext cx="3314700" cy="2378082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5633716"/>
                </a:avLst>
              </a:prstTxWarp>
              <a:spAutoFit/>
            </a:bodyPr>
            <a:lstStyle/>
            <a:p>
              <a:pPr algn="ctr"/>
              <a:r>
                <a:rPr lang="es-CO" dirty="0" smtClean="0">
                  <a:solidFill>
                    <a:schemeClr val="bg1"/>
                  </a:solidFill>
                  <a:latin typeface="+mj-lt"/>
                </a:rPr>
                <a:t>Soporte a bases de datos</a:t>
              </a:r>
              <a:endParaRPr lang="es-CO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TextBox 11"/>
            <p:cNvSpPr txBox="1"/>
            <p:nvPr/>
          </p:nvSpPr>
          <p:spPr>
            <a:xfrm flipH="1" flipV="1">
              <a:off x="2603312" y="3466937"/>
              <a:ext cx="3314700" cy="2378082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5633716"/>
                </a:avLst>
              </a:prstTxWarp>
              <a:spAutoFit/>
            </a:bodyPr>
            <a:lstStyle/>
            <a:p>
              <a:pPr algn="ctr"/>
              <a:r>
                <a:rPr lang="es-CO" dirty="0" smtClean="0">
                  <a:solidFill>
                    <a:schemeClr val="bg1"/>
                  </a:solidFill>
                  <a:latin typeface="+mj-lt"/>
                </a:rPr>
                <a:t>Soporte a bases de datos</a:t>
              </a:r>
              <a:endParaRPr lang="es-CO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" name="TextBox 12"/>
            <p:cNvSpPr txBox="1"/>
            <p:nvPr/>
          </p:nvSpPr>
          <p:spPr>
            <a:xfrm rot="16354015">
              <a:off x="1517462" y="2278218"/>
              <a:ext cx="3314700" cy="2378082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5633716"/>
                </a:avLst>
              </a:prstTxWarp>
              <a:spAutoFit/>
            </a:bodyPr>
            <a:lstStyle/>
            <a:p>
              <a:pPr algn="ctr"/>
              <a:r>
                <a:rPr lang="es-CO" dirty="0" smtClean="0">
                  <a:solidFill>
                    <a:schemeClr val="bg1"/>
                  </a:solidFill>
                  <a:latin typeface="+mj-lt"/>
                </a:rPr>
                <a:t>Soporte a bases de datos</a:t>
              </a:r>
              <a:endParaRPr lang="es-CO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6" name="TextBox 13"/>
            <p:cNvSpPr txBox="1"/>
            <p:nvPr/>
          </p:nvSpPr>
          <p:spPr>
            <a:xfrm rot="16354015" flipH="1" flipV="1">
              <a:off x="3704402" y="2396328"/>
              <a:ext cx="3314700" cy="2378082"/>
            </a:xfrm>
            <a:prstGeom prst="rect">
              <a:avLst/>
            </a:prstGeom>
            <a:noFill/>
          </p:spPr>
          <p:txBody>
            <a:bodyPr wrap="square" rtlCol="0">
              <a:prstTxWarp prst="textArchUp">
                <a:avLst>
                  <a:gd name="adj" fmla="val 5633716"/>
                </a:avLst>
              </a:prstTxWarp>
              <a:spAutoFit/>
            </a:bodyPr>
            <a:lstStyle/>
            <a:p>
              <a:pPr algn="ctr"/>
              <a:r>
                <a:rPr lang="es-CO" dirty="0" smtClean="0">
                  <a:solidFill>
                    <a:schemeClr val="bg1"/>
                  </a:solidFill>
                  <a:latin typeface="+mj-lt"/>
                </a:rPr>
                <a:t>Soporte a bases de datos</a:t>
              </a:r>
              <a:endParaRPr lang="es-CO" dirty="0">
                <a:solidFill>
                  <a:schemeClr val="bg1"/>
                </a:solidFill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5749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105245" y="578390"/>
            <a:ext cx="8911687" cy="8078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C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evo Modelo operativo</a:t>
            </a:r>
          </a:p>
        </p:txBody>
      </p:sp>
      <p:sp>
        <p:nvSpPr>
          <p:cNvPr id="35" name="Title 3"/>
          <p:cNvSpPr txBox="1">
            <a:spLocks/>
          </p:cNvSpPr>
          <p:nvPr/>
        </p:nvSpPr>
        <p:spPr>
          <a:xfrm>
            <a:off x="2105245" y="1105713"/>
            <a:ext cx="7783552" cy="550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CO" sz="2000" b="1" dirty="0" err="1" smtClean="0">
                <a:solidFill>
                  <a:schemeClr val="accent1"/>
                </a:solidFill>
              </a:rPr>
              <a:t>Admin</a:t>
            </a:r>
            <a:r>
              <a:rPr lang="es-CO" sz="2000" b="1" dirty="0" smtClean="0">
                <a:solidFill>
                  <a:schemeClr val="accent1"/>
                </a:solidFill>
              </a:rPr>
              <a:t>. de la Configuración y la Infraestructura Tecnológica</a:t>
            </a:r>
            <a:endParaRPr lang="es-CO" sz="2000" b="1" dirty="0">
              <a:solidFill>
                <a:schemeClr val="accent1"/>
              </a:solidFill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745186" y="2033111"/>
            <a:ext cx="742950" cy="110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012965" y="2032159"/>
            <a:ext cx="526030" cy="7186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Rounded Rectangle 6"/>
          <p:cNvSpPr/>
          <p:nvPr>
            <p:custDataLst>
              <p:tags r:id="rId1"/>
            </p:custDataLst>
          </p:nvPr>
        </p:nvSpPr>
        <p:spPr bwMode="auto">
          <a:xfrm>
            <a:off x="2385141" y="1597089"/>
            <a:ext cx="4343400" cy="2822511"/>
          </a:xfrm>
          <a:prstGeom prst="roundRect">
            <a:avLst>
              <a:gd name="adj" fmla="val 6262"/>
            </a:avLst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Administración de la Configuración</a:t>
            </a:r>
          </a:p>
        </p:txBody>
      </p:sp>
      <p:sp>
        <p:nvSpPr>
          <p:cNvPr id="39" name="TextBox 7"/>
          <p:cNvSpPr txBox="1"/>
          <p:nvPr/>
        </p:nvSpPr>
        <p:spPr>
          <a:xfrm>
            <a:off x="2373711" y="3162300"/>
            <a:ext cx="141732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00" b="0" dirty="0" smtClean="0">
                <a:latin typeface="+mj-lt"/>
              </a:rPr>
              <a:t>Técnico de procesamiento</a:t>
            </a:r>
          </a:p>
          <a:p>
            <a:pPr algn="ctr"/>
            <a:r>
              <a:rPr lang="es-CO" sz="1000" dirty="0" smtClean="0">
                <a:latin typeface="+mj-lt"/>
              </a:rPr>
              <a:t>Centro de Cómputo</a:t>
            </a:r>
            <a:endParaRPr lang="es-CO" sz="1000" dirty="0">
              <a:latin typeface="+mj-lt"/>
            </a:endParaRPr>
          </a:p>
        </p:txBody>
      </p:sp>
      <p:sp>
        <p:nvSpPr>
          <p:cNvPr id="40" name="TextBox 8"/>
          <p:cNvSpPr txBox="1"/>
          <p:nvPr/>
        </p:nvSpPr>
        <p:spPr>
          <a:xfrm>
            <a:off x="3680541" y="3162300"/>
            <a:ext cx="159639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00" b="0" dirty="0" smtClean="0">
                <a:latin typeface="+mj-lt"/>
              </a:rPr>
              <a:t>Técnico de servidores</a:t>
            </a:r>
          </a:p>
          <a:p>
            <a:pPr algn="ctr"/>
            <a:r>
              <a:rPr lang="es-CO" sz="1000" dirty="0" smtClean="0">
                <a:latin typeface="+mj-lt"/>
              </a:rPr>
              <a:t>Infraestructura y Networking</a:t>
            </a:r>
            <a:endParaRPr lang="es-CO" sz="1000" dirty="0">
              <a:latin typeface="+mj-lt"/>
            </a:endParaRPr>
          </a:p>
        </p:txBody>
      </p:sp>
      <p:pic>
        <p:nvPicPr>
          <p:cNvPr id="41" name="Picture 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489339" y="2123599"/>
            <a:ext cx="92392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TextBox 10"/>
          <p:cNvSpPr txBox="1"/>
          <p:nvPr/>
        </p:nvSpPr>
        <p:spPr>
          <a:xfrm>
            <a:off x="5170251" y="3162300"/>
            <a:ext cx="146685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00" b="0" dirty="0" smtClean="0">
                <a:latin typeface="+mj-lt"/>
              </a:rPr>
              <a:t>Analista de segunda línea</a:t>
            </a:r>
          </a:p>
          <a:p>
            <a:pPr algn="ctr"/>
            <a:r>
              <a:rPr lang="es-CO" sz="1000" dirty="0" smtClean="0">
                <a:latin typeface="+mj-lt"/>
              </a:rPr>
              <a:t>Service Desk</a:t>
            </a:r>
            <a:endParaRPr lang="es-CO" sz="1000" dirty="0">
              <a:latin typeface="+mj-lt"/>
            </a:endParaRPr>
          </a:p>
        </p:txBody>
      </p:sp>
      <p:pic>
        <p:nvPicPr>
          <p:cNvPr id="43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63746" y="4997291"/>
            <a:ext cx="742950" cy="110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971554" y="5087779"/>
            <a:ext cx="67627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Rounded Rectangle 14"/>
          <p:cNvSpPr/>
          <p:nvPr>
            <p:custDataLst>
              <p:tags r:id="rId2"/>
            </p:custDataLst>
          </p:nvPr>
        </p:nvSpPr>
        <p:spPr bwMode="auto">
          <a:xfrm>
            <a:off x="6103701" y="4446969"/>
            <a:ext cx="4343400" cy="2342451"/>
          </a:xfrm>
          <a:prstGeom prst="roundRect">
            <a:avLst>
              <a:gd name="adj" fmla="val 6262"/>
            </a:avLst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Mantener la </a:t>
            </a:r>
            <a:r>
              <a:rPr lang="es-CO" dirty="0">
                <a:latin typeface="+mj-lt"/>
              </a:rPr>
              <a:t>I</a:t>
            </a:r>
            <a:r>
              <a:rPr kumimoji="0" lang="es-CO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rPr>
              <a:t>nfraestructura Tecnológica</a:t>
            </a:r>
          </a:p>
        </p:txBody>
      </p:sp>
      <p:sp>
        <p:nvSpPr>
          <p:cNvPr id="46" name="TextBox 15"/>
          <p:cNvSpPr txBox="1"/>
          <p:nvPr/>
        </p:nvSpPr>
        <p:spPr>
          <a:xfrm>
            <a:off x="6092271" y="6126480"/>
            <a:ext cx="141732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00" b="0" dirty="0" smtClean="0">
                <a:latin typeface="+mj-lt"/>
              </a:rPr>
              <a:t>Técnico de procesamiento</a:t>
            </a:r>
          </a:p>
          <a:p>
            <a:pPr algn="ctr"/>
            <a:r>
              <a:rPr lang="es-CO" sz="1000" dirty="0" smtClean="0">
                <a:latin typeface="+mj-lt"/>
              </a:rPr>
              <a:t>Centro de Cómputo</a:t>
            </a:r>
            <a:endParaRPr lang="es-CO" sz="1000" dirty="0">
              <a:latin typeface="+mj-lt"/>
            </a:endParaRPr>
          </a:p>
        </p:txBody>
      </p:sp>
      <p:sp>
        <p:nvSpPr>
          <p:cNvPr id="47" name="TextBox 16"/>
          <p:cNvSpPr txBox="1"/>
          <p:nvPr/>
        </p:nvSpPr>
        <p:spPr>
          <a:xfrm>
            <a:off x="7399101" y="6126480"/>
            <a:ext cx="159639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00" b="0" dirty="0" smtClean="0">
                <a:latin typeface="+mj-lt"/>
              </a:rPr>
              <a:t>Técnico de servidores</a:t>
            </a:r>
          </a:p>
          <a:p>
            <a:pPr algn="ctr"/>
            <a:r>
              <a:rPr lang="es-CO" sz="1000" dirty="0" smtClean="0">
                <a:latin typeface="+mj-lt"/>
              </a:rPr>
              <a:t>Infraestructura y Networking</a:t>
            </a:r>
            <a:endParaRPr lang="es-CO" sz="1000" dirty="0">
              <a:latin typeface="+mj-lt"/>
            </a:endParaRPr>
          </a:p>
        </p:txBody>
      </p:sp>
      <p:pic>
        <p:nvPicPr>
          <p:cNvPr id="48" name="Picture 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207899" y="5087779"/>
            <a:ext cx="923925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9" name="TextBox 18"/>
          <p:cNvSpPr txBox="1"/>
          <p:nvPr/>
        </p:nvSpPr>
        <p:spPr>
          <a:xfrm>
            <a:off x="8888811" y="6126480"/>
            <a:ext cx="15811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000" b="0" dirty="0" smtClean="0">
                <a:latin typeface="+mj-lt"/>
              </a:rPr>
              <a:t>Analista de segunda línea</a:t>
            </a:r>
          </a:p>
          <a:p>
            <a:pPr algn="ctr"/>
            <a:r>
              <a:rPr lang="es-CO" sz="1000" dirty="0" smtClean="0">
                <a:latin typeface="+mj-lt"/>
              </a:rPr>
              <a:t>Service Desk</a:t>
            </a:r>
            <a:endParaRPr lang="es-CO" sz="1000" dirty="0">
              <a:latin typeface="+mj-lt"/>
            </a:endParaRPr>
          </a:p>
        </p:txBody>
      </p:sp>
      <p:sp>
        <p:nvSpPr>
          <p:cNvPr id="50" name="TextBox 19"/>
          <p:cNvSpPr txBox="1"/>
          <p:nvPr/>
        </p:nvSpPr>
        <p:spPr>
          <a:xfrm>
            <a:off x="7105731" y="2632502"/>
            <a:ext cx="33147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s-CO" sz="1200" b="0" dirty="0" smtClean="0">
                <a:latin typeface="+mj-lt"/>
              </a:rPr>
              <a:t>Configuración de hardware</a:t>
            </a:r>
          </a:p>
          <a:p>
            <a:pPr>
              <a:buFont typeface="Arial" pitchFamily="34" charset="0"/>
              <a:buChar char="•"/>
            </a:pPr>
            <a:r>
              <a:rPr lang="es-CO" sz="1200" b="0" dirty="0" smtClean="0">
                <a:latin typeface="+mj-lt"/>
              </a:rPr>
              <a:t>Configuración de sistemas operativos y software</a:t>
            </a:r>
          </a:p>
          <a:p>
            <a:pPr>
              <a:buFont typeface="Arial" pitchFamily="34" charset="0"/>
              <a:buChar char="•"/>
            </a:pPr>
            <a:r>
              <a:rPr lang="es-CO" sz="1200" b="0" dirty="0" smtClean="0">
                <a:latin typeface="+mj-lt"/>
              </a:rPr>
              <a:t>Mantenimiento de redes LAN</a:t>
            </a:r>
          </a:p>
          <a:p>
            <a:pPr>
              <a:buFont typeface="Arial" pitchFamily="34" charset="0"/>
              <a:buChar char="•"/>
            </a:pPr>
            <a:r>
              <a:rPr lang="es-CO" sz="1200" b="0" dirty="0" smtClean="0">
                <a:latin typeface="+mj-lt"/>
              </a:rPr>
              <a:t>Mantenimiento de redes WAN</a:t>
            </a:r>
          </a:p>
        </p:txBody>
      </p:sp>
      <p:sp>
        <p:nvSpPr>
          <p:cNvPr id="51" name="Right Arrow 20"/>
          <p:cNvSpPr/>
          <p:nvPr/>
        </p:nvSpPr>
        <p:spPr bwMode="auto">
          <a:xfrm flipH="1">
            <a:off x="6865701" y="2647950"/>
            <a:ext cx="171450" cy="80010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FFCC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52" name="Right Arrow 21"/>
          <p:cNvSpPr/>
          <p:nvPr/>
        </p:nvSpPr>
        <p:spPr bwMode="auto">
          <a:xfrm>
            <a:off x="5806521" y="5204356"/>
            <a:ext cx="171450" cy="800100"/>
          </a:xfrm>
          <a:prstGeom prst="rightArrow">
            <a:avLst>
              <a:gd name="adj1" fmla="val 50000"/>
              <a:gd name="adj2" fmla="val 100000"/>
            </a:avLst>
          </a:prstGeom>
          <a:solidFill>
            <a:srgbClr val="FFCC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53" name="TextBox 22"/>
          <p:cNvSpPr txBox="1"/>
          <p:nvPr/>
        </p:nvSpPr>
        <p:spPr>
          <a:xfrm>
            <a:off x="3543381" y="5373574"/>
            <a:ext cx="22136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s-CO" sz="1200" b="0" dirty="0" smtClean="0">
                <a:latin typeface="+mj-lt"/>
              </a:rPr>
              <a:t>Mantenimiento de hardware</a:t>
            </a:r>
          </a:p>
          <a:p>
            <a:pPr>
              <a:buFont typeface="Arial" pitchFamily="34" charset="0"/>
              <a:buChar char="•"/>
            </a:pPr>
            <a:r>
              <a:rPr lang="es-CO" sz="1200" b="0" dirty="0" smtClean="0">
                <a:latin typeface="+mj-lt"/>
              </a:rPr>
              <a:t>Mantenimiento software</a:t>
            </a:r>
          </a:p>
        </p:txBody>
      </p:sp>
      <p:pic>
        <p:nvPicPr>
          <p:cNvPr id="54" name="Picture 5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735911" y="2115503"/>
            <a:ext cx="190500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" name="Picture 6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203464" y="2895600"/>
            <a:ext cx="639127" cy="177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6" name="Group 25"/>
          <p:cNvGrpSpPr/>
          <p:nvPr/>
        </p:nvGrpSpPr>
        <p:grpSpPr>
          <a:xfrm>
            <a:off x="3422191" y="4019550"/>
            <a:ext cx="2426240" cy="331470"/>
            <a:chOff x="1597120" y="5132070"/>
            <a:chExt cx="2426240" cy="323850"/>
          </a:xfrm>
        </p:grpSpPr>
        <p:sp>
          <p:nvSpPr>
            <p:cNvPr id="57" name="Flowchart: Magnetic Disk 27"/>
            <p:cNvSpPr/>
            <p:nvPr>
              <p:custDataLst>
                <p:tags r:id="rId3"/>
              </p:custDataLst>
            </p:nvPr>
          </p:nvSpPr>
          <p:spPr bwMode="auto">
            <a:xfrm>
              <a:off x="1597120" y="5284470"/>
              <a:ext cx="514350" cy="171450"/>
            </a:xfrm>
            <a:prstGeom prst="flowChartMagneticDisk">
              <a:avLst/>
            </a:prstGeom>
            <a:solidFill>
              <a:srgbClr val="FFC0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Flowchart: Magnetic Disk 28"/>
            <p:cNvSpPr/>
            <p:nvPr>
              <p:custDataLst>
                <p:tags r:id="rId4"/>
              </p:custDataLst>
            </p:nvPr>
          </p:nvSpPr>
          <p:spPr bwMode="auto">
            <a:xfrm>
              <a:off x="1597120" y="5132070"/>
              <a:ext cx="514350" cy="171450"/>
            </a:xfrm>
            <a:prstGeom prst="flowChartMagneticDisk">
              <a:avLst/>
            </a:prstGeom>
            <a:solidFill>
              <a:srgbClr val="FFC0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endParaRPr kumimoji="0" lang="es-CO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TextBox 29"/>
            <p:cNvSpPr txBox="1"/>
            <p:nvPr>
              <p:custDataLst>
                <p:tags r:id="rId5"/>
              </p:custDataLst>
            </p:nvPr>
          </p:nvSpPr>
          <p:spPr>
            <a:xfrm>
              <a:off x="2137410" y="5184491"/>
              <a:ext cx="188595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CO" sz="800" dirty="0" smtClean="0">
                  <a:latin typeface="+mj-lt"/>
                </a:rPr>
                <a:t>Base de datos de configuración (CMDB)</a:t>
              </a:r>
              <a:endParaRPr lang="es-CO" sz="800" dirty="0">
                <a:latin typeface="+mj-lt"/>
              </a:endParaRPr>
            </a:p>
          </p:txBody>
        </p:sp>
      </p:grpSp>
      <p:cxnSp>
        <p:nvCxnSpPr>
          <p:cNvPr id="60" name="Straight Arrow Connector 31"/>
          <p:cNvCxnSpPr>
            <a:stCxn id="40" idx="2"/>
          </p:cNvCxnSpPr>
          <p:nvPr/>
        </p:nvCxnSpPr>
        <p:spPr bwMode="auto">
          <a:xfrm flipH="1">
            <a:off x="4476831" y="3716298"/>
            <a:ext cx="1905" cy="280392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cxnSp>
        <p:nvCxnSpPr>
          <p:cNvPr id="61" name="Straight Arrow Connector 42"/>
          <p:cNvCxnSpPr>
            <a:stCxn id="39" idx="2"/>
          </p:cNvCxnSpPr>
          <p:nvPr/>
        </p:nvCxnSpPr>
        <p:spPr bwMode="auto">
          <a:xfrm>
            <a:off x="3082371" y="3716298"/>
            <a:ext cx="217170" cy="25200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  <p:cxnSp>
        <p:nvCxnSpPr>
          <p:cNvPr id="62" name="Straight Arrow Connector 44"/>
          <p:cNvCxnSpPr>
            <a:stCxn id="42" idx="2"/>
          </p:cNvCxnSpPr>
          <p:nvPr/>
        </p:nvCxnSpPr>
        <p:spPr bwMode="auto">
          <a:xfrm flipH="1">
            <a:off x="5734132" y="3716298"/>
            <a:ext cx="169544" cy="246102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arrow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1977717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8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7" dur="2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0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3" dur="2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6" dur="2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9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2" dur="2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5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8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1" dur="2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4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7" dur="2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0" dur="2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3" dur="2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5" grpId="0"/>
      <p:bldP spid="38" grpId="0" animBg="1"/>
      <p:bldP spid="39" grpId="0"/>
      <p:bldP spid="40" grpId="0"/>
      <p:bldP spid="42" grpId="0"/>
      <p:bldP spid="45" grpId="0" animBg="1"/>
      <p:bldP spid="46" grpId="0"/>
      <p:bldP spid="47" grpId="0"/>
      <p:bldP spid="49" grpId="0"/>
      <p:bldP spid="50" grpId="0"/>
      <p:bldP spid="51" grpId="0" animBg="1"/>
      <p:bldP spid="52" grpId="0" animBg="1"/>
      <p:bldP spid="53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 txBox="1">
            <a:spLocks/>
          </p:cNvSpPr>
          <p:nvPr/>
        </p:nvSpPr>
        <p:spPr>
          <a:xfrm>
            <a:off x="1983325" y="563150"/>
            <a:ext cx="8911687" cy="8078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EC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evo Modelo operativo</a:t>
            </a:r>
            <a:endParaRPr lang="es-EC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3" name="Title 3"/>
          <p:cNvSpPr>
            <a:spLocks noGrp="1"/>
          </p:cNvSpPr>
          <p:nvPr>
            <p:ph type="title"/>
          </p:nvPr>
        </p:nvSpPr>
        <p:spPr>
          <a:xfrm>
            <a:off x="1995781" y="1251607"/>
            <a:ext cx="7783552" cy="550552"/>
          </a:xfrm>
        </p:spPr>
        <p:txBody>
          <a:bodyPr>
            <a:normAutofit/>
          </a:bodyPr>
          <a:lstStyle/>
          <a:p>
            <a:r>
              <a:rPr lang="es-CO" sz="2000" b="1" dirty="0" smtClean="0">
                <a:solidFill>
                  <a:schemeClr val="accent1"/>
                </a:solidFill>
              </a:rPr>
              <a:t>Gestión de la Continuidad del Servicio</a:t>
            </a:r>
            <a:endParaRPr lang="es-CO" sz="2000" b="1" dirty="0">
              <a:solidFill>
                <a:schemeClr val="accent1"/>
              </a:solidFill>
            </a:endParaRPr>
          </a:p>
        </p:txBody>
      </p:sp>
      <p:sp>
        <p:nvSpPr>
          <p:cNvPr id="34" name="Freeform 4"/>
          <p:cNvSpPr/>
          <p:nvPr/>
        </p:nvSpPr>
        <p:spPr bwMode="auto">
          <a:xfrm>
            <a:off x="2133600" y="1626870"/>
            <a:ext cx="4419600" cy="3086100"/>
          </a:xfrm>
          <a:custGeom>
            <a:avLst/>
            <a:gdLst>
              <a:gd name="connsiteX0" fmla="*/ 510540 w 3813810"/>
              <a:gd name="connsiteY0" fmla="*/ 426720 h 2244090"/>
              <a:gd name="connsiteX1" fmla="*/ 41910 w 3813810"/>
              <a:gd name="connsiteY1" fmla="*/ 895350 h 2244090"/>
              <a:gd name="connsiteX2" fmla="*/ 259080 w 3813810"/>
              <a:gd name="connsiteY2" fmla="*/ 1524000 h 2244090"/>
              <a:gd name="connsiteX3" fmla="*/ 773430 w 3813810"/>
              <a:gd name="connsiteY3" fmla="*/ 2152650 h 2244090"/>
              <a:gd name="connsiteX4" fmla="*/ 1493520 w 3813810"/>
              <a:gd name="connsiteY4" fmla="*/ 2072640 h 2244090"/>
              <a:gd name="connsiteX5" fmla="*/ 2293620 w 3813810"/>
              <a:gd name="connsiteY5" fmla="*/ 2129790 h 2244090"/>
              <a:gd name="connsiteX6" fmla="*/ 2785110 w 3813810"/>
              <a:gd name="connsiteY6" fmla="*/ 1752600 h 2244090"/>
              <a:gd name="connsiteX7" fmla="*/ 3688080 w 3813810"/>
              <a:gd name="connsiteY7" fmla="*/ 1295400 h 2244090"/>
              <a:gd name="connsiteX8" fmla="*/ 3539490 w 3813810"/>
              <a:gd name="connsiteY8" fmla="*/ 586740 h 2244090"/>
              <a:gd name="connsiteX9" fmla="*/ 3025140 w 3813810"/>
              <a:gd name="connsiteY9" fmla="*/ 72390 h 2244090"/>
              <a:gd name="connsiteX10" fmla="*/ 2339340 w 3813810"/>
              <a:gd name="connsiteY10" fmla="*/ 152400 h 2244090"/>
              <a:gd name="connsiteX11" fmla="*/ 1116330 w 3813810"/>
              <a:gd name="connsiteY11" fmla="*/ 255270 h 2244090"/>
              <a:gd name="connsiteX12" fmla="*/ 510540 w 3813810"/>
              <a:gd name="connsiteY12" fmla="*/ 426720 h 22440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813810" h="2244090">
                <a:moveTo>
                  <a:pt x="510540" y="426720"/>
                </a:moveTo>
                <a:cubicBezTo>
                  <a:pt x="331470" y="533400"/>
                  <a:pt x="83820" y="712470"/>
                  <a:pt x="41910" y="895350"/>
                </a:cubicBezTo>
                <a:cubicBezTo>
                  <a:pt x="0" y="1078230"/>
                  <a:pt x="137160" y="1314450"/>
                  <a:pt x="259080" y="1524000"/>
                </a:cubicBezTo>
                <a:cubicBezTo>
                  <a:pt x="381000" y="1733550"/>
                  <a:pt x="567690" y="2061210"/>
                  <a:pt x="773430" y="2152650"/>
                </a:cubicBezTo>
                <a:cubicBezTo>
                  <a:pt x="979170" y="2244090"/>
                  <a:pt x="1240155" y="2076450"/>
                  <a:pt x="1493520" y="2072640"/>
                </a:cubicBezTo>
                <a:cubicBezTo>
                  <a:pt x="1746885" y="2068830"/>
                  <a:pt x="2078355" y="2183130"/>
                  <a:pt x="2293620" y="2129790"/>
                </a:cubicBezTo>
                <a:cubicBezTo>
                  <a:pt x="2508885" y="2076450"/>
                  <a:pt x="2552700" y="1891665"/>
                  <a:pt x="2785110" y="1752600"/>
                </a:cubicBezTo>
                <a:cubicBezTo>
                  <a:pt x="3017520" y="1613535"/>
                  <a:pt x="3562350" y="1489710"/>
                  <a:pt x="3688080" y="1295400"/>
                </a:cubicBezTo>
                <a:cubicBezTo>
                  <a:pt x="3813810" y="1101090"/>
                  <a:pt x="3649980" y="790575"/>
                  <a:pt x="3539490" y="586740"/>
                </a:cubicBezTo>
                <a:cubicBezTo>
                  <a:pt x="3429000" y="382905"/>
                  <a:pt x="3225165" y="144780"/>
                  <a:pt x="3025140" y="72390"/>
                </a:cubicBezTo>
                <a:cubicBezTo>
                  <a:pt x="2825115" y="0"/>
                  <a:pt x="2657475" y="121920"/>
                  <a:pt x="2339340" y="152400"/>
                </a:cubicBezTo>
                <a:cubicBezTo>
                  <a:pt x="2021205" y="182880"/>
                  <a:pt x="1419225" y="209550"/>
                  <a:pt x="1116330" y="255270"/>
                </a:cubicBezTo>
                <a:cubicBezTo>
                  <a:pt x="813435" y="300990"/>
                  <a:pt x="689610" y="320040"/>
                  <a:pt x="510540" y="426720"/>
                </a:cubicBezTo>
                <a:close/>
              </a:path>
            </a:pathLst>
          </a:cu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prst="angle"/>
          </a:sp3d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lang="es-CO" sz="1200" dirty="0" smtClean="0">
              <a:latin typeface="Arial" charset="0"/>
            </a:endParaRPr>
          </a:p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lang="es-CO" sz="1200" dirty="0" smtClean="0">
              <a:solidFill>
                <a:schemeClr val="bg1"/>
              </a:solidFill>
              <a:latin typeface="Arial" charset="0"/>
            </a:endParaRPr>
          </a:p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lang="es-CO" sz="1200" dirty="0" smtClean="0">
                <a:solidFill>
                  <a:schemeClr val="bg1"/>
                </a:solidFill>
                <a:latin typeface="Arial" charset="0"/>
              </a:rPr>
              <a:t>                                        </a:t>
            </a:r>
          </a:p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lang="es-CO" sz="1200" b="1" dirty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es-CO" sz="1200" b="1" dirty="0" smtClean="0">
                <a:solidFill>
                  <a:schemeClr val="bg1"/>
                </a:solidFill>
                <a:latin typeface="Arial" charset="0"/>
              </a:rPr>
              <a:t>       </a:t>
            </a:r>
            <a:r>
              <a:rPr kumimoji="0" lang="es-CO" sz="12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                                       </a:t>
            </a:r>
            <a:r>
              <a:rPr kumimoji="0" lang="es-CO" sz="1200" b="1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</a:rPr>
              <a:t>Quito</a:t>
            </a:r>
            <a:r>
              <a:rPr kumimoji="0" lang="es-CO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                            </a:t>
            </a:r>
          </a:p>
        </p:txBody>
      </p:sp>
      <p:sp>
        <p:nvSpPr>
          <p:cNvPr id="35" name="Freeform 5"/>
          <p:cNvSpPr/>
          <p:nvPr/>
        </p:nvSpPr>
        <p:spPr bwMode="auto">
          <a:xfrm>
            <a:off x="6998033" y="1647620"/>
            <a:ext cx="2781300" cy="4834890"/>
          </a:xfrm>
          <a:custGeom>
            <a:avLst/>
            <a:gdLst>
              <a:gd name="connsiteX0" fmla="*/ 767715 w 2097405"/>
              <a:gd name="connsiteY0" fmla="*/ 683895 h 4834890"/>
              <a:gd name="connsiteX1" fmla="*/ 584835 w 2097405"/>
              <a:gd name="connsiteY1" fmla="*/ 1632585 h 4834890"/>
              <a:gd name="connsiteX2" fmla="*/ 104775 w 2097405"/>
              <a:gd name="connsiteY2" fmla="*/ 2649855 h 4834890"/>
              <a:gd name="connsiteX3" fmla="*/ 36195 w 2097405"/>
              <a:gd name="connsiteY3" fmla="*/ 3381375 h 4834890"/>
              <a:gd name="connsiteX4" fmla="*/ 321945 w 2097405"/>
              <a:gd name="connsiteY4" fmla="*/ 3541395 h 4834890"/>
              <a:gd name="connsiteX5" fmla="*/ 264795 w 2097405"/>
              <a:gd name="connsiteY5" fmla="*/ 4547235 h 4834890"/>
              <a:gd name="connsiteX6" fmla="*/ 539115 w 2097405"/>
              <a:gd name="connsiteY6" fmla="*/ 4650105 h 4834890"/>
              <a:gd name="connsiteX7" fmla="*/ 1064895 w 2097405"/>
              <a:gd name="connsiteY7" fmla="*/ 4821555 h 4834890"/>
              <a:gd name="connsiteX8" fmla="*/ 1636395 w 2097405"/>
              <a:gd name="connsiteY8" fmla="*/ 4730115 h 4834890"/>
              <a:gd name="connsiteX9" fmla="*/ 2002155 w 2097405"/>
              <a:gd name="connsiteY9" fmla="*/ 4444365 h 4834890"/>
              <a:gd name="connsiteX10" fmla="*/ 1739265 w 2097405"/>
              <a:gd name="connsiteY10" fmla="*/ 4204335 h 4834890"/>
              <a:gd name="connsiteX11" fmla="*/ 1522095 w 2097405"/>
              <a:gd name="connsiteY11" fmla="*/ 3472815 h 4834890"/>
              <a:gd name="connsiteX12" fmla="*/ 1727835 w 2097405"/>
              <a:gd name="connsiteY12" fmla="*/ 3061335 h 4834890"/>
              <a:gd name="connsiteX13" fmla="*/ 1796415 w 2097405"/>
              <a:gd name="connsiteY13" fmla="*/ 2524125 h 4834890"/>
              <a:gd name="connsiteX14" fmla="*/ 1464945 w 2097405"/>
              <a:gd name="connsiteY14" fmla="*/ 1598295 h 4834890"/>
              <a:gd name="connsiteX15" fmla="*/ 1704975 w 2097405"/>
              <a:gd name="connsiteY15" fmla="*/ 1152525 h 4834890"/>
              <a:gd name="connsiteX16" fmla="*/ 1945005 w 2097405"/>
              <a:gd name="connsiteY16" fmla="*/ 615315 h 4834890"/>
              <a:gd name="connsiteX17" fmla="*/ 2002155 w 2097405"/>
              <a:gd name="connsiteY17" fmla="*/ 146685 h 4834890"/>
              <a:gd name="connsiteX18" fmla="*/ 1373505 w 2097405"/>
              <a:gd name="connsiteY18" fmla="*/ 66675 h 4834890"/>
              <a:gd name="connsiteX19" fmla="*/ 413385 w 2097405"/>
              <a:gd name="connsiteY19" fmla="*/ 100965 h 4834890"/>
              <a:gd name="connsiteX20" fmla="*/ 539115 w 2097405"/>
              <a:gd name="connsiteY20" fmla="*/ 672465 h 4834890"/>
              <a:gd name="connsiteX21" fmla="*/ 767715 w 2097405"/>
              <a:gd name="connsiteY21" fmla="*/ 683895 h 48348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097405" h="4834890">
                <a:moveTo>
                  <a:pt x="767715" y="683895"/>
                </a:moveTo>
                <a:cubicBezTo>
                  <a:pt x="775335" y="843915"/>
                  <a:pt x="695325" y="1304925"/>
                  <a:pt x="584835" y="1632585"/>
                </a:cubicBezTo>
                <a:cubicBezTo>
                  <a:pt x="474345" y="1960245"/>
                  <a:pt x="196215" y="2358390"/>
                  <a:pt x="104775" y="2649855"/>
                </a:cubicBezTo>
                <a:cubicBezTo>
                  <a:pt x="13335" y="2941320"/>
                  <a:pt x="0" y="3232785"/>
                  <a:pt x="36195" y="3381375"/>
                </a:cubicBezTo>
                <a:cubicBezTo>
                  <a:pt x="72390" y="3529965"/>
                  <a:pt x="283845" y="3347085"/>
                  <a:pt x="321945" y="3541395"/>
                </a:cubicBezTo>
                <a:cubicBezTo>
                  <a:pt x="360045" y="3735705"/>
                  <a:pt x="228600" y="4362450"/>
                  <a:pt x="264795" y="4547235"/>
                </a:cubicBezTo>
                <a:cubicBezTo>
                  <a:pt x="300990" y="4732020"/>
                  <a:pt x="405765" y="4604385"/>
                  <a:pt x="539115" y="4650105"/>
                </a:cubicBezTo>
                <a:cubicBezTo>
                  <a:pt x="672465" y="4695825"/>
                  <a:pt x="882015" y="4808220"/>
                  <a:pt x="1064895" y="4821555"/>
                </a:cubicBezTo>
                <a:cubicBezTo>
                  <a:pt x="1247775" y="4834890"/>
                  <a:pt x="1480185" y="4792980"/>
                  <a:pt x="1636395" y="4730115"/>
                </a:cubicBezTo>
                <a:cubicBezTo>
                  <a:pt x="1792605" y="4667250"/>
                  <a:pt x="1985010" y="4531995"/>
                  <a:pt x="2002155" y="4444365"/>
                </a:cubicBezTo>
                <a:cubicBezTo>
                  <a:pt x="2019300" y="4356735"/>
                  <a:pt x="1819275" y="4366260"/>
                  <a:pt x="1739265" y="4204335"/>
                </a:cubicBezTo>
                <a:cubicBezTo>
                  <a:pt x="1659255" y="4042410"/>
                  <a:pt x="1524000" y="3663315"/>
                  <a:pt x="1522095" y="3472815"/>
                </a:cubicBezTo>
                <a:cubicBezTo>
                  <a:pt x="1520190" y="3282315"/>
                  <a:pt x="1682115" y="3219450"/>
                  <a:pt x="1727835" y="3061335"/>
                </a:cubicBezTo>
                <a:cubicBezTo>
                  <a:pt x="1773555" y="2903220"/>
                  <a:pt x="1840230" y="2767965"/>
                  <a:pt x="1796415" y="2524125"/>
                </a:cubicBezTo>
                <a:cubicBezTo>
                  <a:pt x="1752600" y="2280285"/>
                  <a:pt x="1480185" y="1826895"/>
                  <a:pt x="1464945" y="1598295"/>
                </a:cubicBezTo>
                <a:cubicBezTo>
                  <a:pt x="1449705" y="1369695"/>
                  <a:pt x="1624965" y="1316355"/>
                  <a:pt x="1704975" y="1152525"/>
                </a:cubicBezTo>
                <a:cubicBezTo>
                  <a:pt x="1784985" y="988695"/>
                  <a:pt x="1895475" y="782955"/>
                  <a:pt x="1945005" y="615315"/>
                </a:cubicBezTo>
                <a:cubicBezTo>
                  <a:pt x="1994535" y="447675"/>
                  <a:pt x="2097405" y="238125"/>
                  <a:pt x="2002155" y="146685"/>
                </a:cubicBezTo>
                <a:cubicBezTo>
                  <a:pt x="1906905" y="55245"/>
                  <a:pt x="1638300" y="74295"/>
                  <a:pt x="1373505" y="66675"/>
                </a:cubicBezTo>
                <a:cubicBezTo>
                  <a:pt x="1108710" y="59055"/>
                  <a:pt x="552450" y="0"/>
                  <a:pt x="413385" y="100965"/>
                </a:cubicBezTo>
                <a:cubicBezTo>
                  <a:pt x="274320" y="201930"/>
                  <a:pt x="476250" y="575310"/>
                  <a:pt x="539115" y="672465"/>
                </a:cubicBezTo>
                <a:cubicBezTo>
                  <a:pt x="601980" y="769620"/>
                  <a:pt x="760095" y="523875"/>
                  <a:pt x="767715" y="683895"/>
                </a:cubicBezTo>
                <a:close/>
              </a:path>
            </a:pathLst>
          </a:custGeom>
          <a:solidFill>
            <a:srgbClr val="92D05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 prst="angle"/>
          </a:sp3d>
        </p:spPr>
        <p:txBody>
          <a:bodyPr vert="horz" wrap="non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endParaRPr kumimoji="0" lang="es-CO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            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lang="es-CO" sz="1200" dirty="0" smtClean="0">
                <a:latin typeface="Arial" charset="0"/>
              </a:rPr>
              <a:t>            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00000"/>
              <a:buFont typeface="Wingdings" pitchFamily="2" charset="2"/>
              <a:buNone/>
              <a:tabLst/>
            </a:pPr>
            <a:r>
              <a:rPr kumimoji="0" lang="es-CO" sz="12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rPr>
              <a:t>       </a:t>
            </a:r>
            <a:r>
              <a:rPr kumimoji="0" lang="es-CO" sz="1200" b="1" i="0" u="none" strike="noStrike" cap="none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</a:rPr>
              <a:t>Guayaquil</a:t>
            </a: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216719" y="2028825"/>
            <a:ext cx="1539268" cy="10153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512369" y="3964306"/>
            <a:ext cx="1246822" cy="822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TextBox 8"/>
          <p:cNvSpPr txBox="1"/>
          <p:nvPr/>
        </p:nvSpPr>
        <p:spPr>
          <a:xfrm>
            <a:off x="4541520" y="3307080"/>
            <a:ext cx="14973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dirty="0" smtClean="0">
                <a:latin typeface="+mj-lt"/>
              </a:rPr>
              <a:t>Datacenter Principal</a:t>
            </a:r>
            <a:endParaRPr lang="es-CO" sz="1200" dirty="0">
              <a:latin typeface="+mj-lt"/>
            </a:endParaRPr>
          </a:p>
        </p:txBody>
      </p:sp>
      <p:sp>
        <p:nvSpPr>
          <p:cNvPr id="39" name="TextBox 9"/>
          <p:cNvSpPr txBox="1"/>
          <p:nvPr/>
        </p:nvSpPr>
        <p:spPr>
          <a:xfrm>
            <a:off x="7471410" y="5699760"/>
            <a:ext cx="16649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200" dirty="0" smtClean="0">
                <a:latin typeface="+mj-lt"/>
              </a:rPr>
              <a:t>Datacenter de Contingencia</a:t>
            </a:r>
            <a:endParaRPr lang="es-CO" sz="1200" dirty="0">
              <a:latin typeface="+mj-lt"/>
            </a:endParaRPr>
          </a:p>
        </p:txBody>
      </p:sp>
      <p:cxnSp>
        <p:nvCxnSpPr>
          <p:cNvPr id="40" name="Curved Connector 13"/>
          <p:cNvCxnSpPr>
            <a:stCxn id="39" idx="0"/>
            <a:endCxn id="37" idx="2"/>
          </p:cNvCxnSpPr>
          <p:nvPr/>
        </p:nvCxnSpPr>
        <p:spPr bwMode="auto">
          <a:xfrm rot="16200000" flipV="1">
            <a:off x="7763339" y="5159203"/>
            <a:ext cx="912998" cy="168115"/>
          </a:xfrm>
          <a:prstGeom prst="curvedConnector3">
            <a:avLst>
              <a:gd name="adj1" fmla="val 52504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41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535930" y="3966210"/>
            <a:ext cx="1508759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TextBox 16"/>
          <p:cNvSpPr txBox="1"/>
          <p:nvPr/>
        </p:nvSpPr>
        <p:spPr>
          <a:xfrm>
            <a:off x="5318760" y="4370070"/>
            <a:ext cx="14173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dirty="0" smtClean="0">
                <a:latin typeface="+mj-lt"/>
              </a:rPr>
              <a:t>Replica:</a:t>
            </a:r>
          </a:p>
          <a:p>
            <a:pPr>
              <a:buFont typeface="Arial" pitchFamily="34" charset="0"/>
              <a:buChar char="•"/>
            </a:pPr>
            <a:r>
              <a:rPr lang="es-CO" sz="1200" dirty="0" smtClean="0">
                <a:latin typeface="+mj-lt"/>
              </a:rPr>
              <a:t> Peoplesoft</a:t>
            </a:r>
          </a:p>
          <a:p>
            <a:pPr>
              <a:buFont typeface="Arial" pitchFamily="34" charset="0"/>
              <a:buChar char="•"/>
            </a:pPr>
            <a:r>
              <a:rPr lang="es-CO" sz="1200" dirty="0" smtClean="0">
                <a:latin typeface="+mj-lt"/>
              </a:rPr>
              <a:t> CAO</a:t>
            </a:r>
          </a:p>
          <a:p>
            <a:pPr>
              <a:buFont typeface="Arial" pitchFamily="34" charset="0"/>
              <a:buChar char="•"/>
            </a:pPr>
            <a:r>
              <a:rPr lang="es-CO" sz="1200" dirty="0" smtClean="0">
                <a:latin typeface="+mj-lt"/>
              </a:rPr>
              <a:t> Gestor</a:t>
            </a:r>
            <a:endParaRPr lang="es-CO" sz="1200" dirty="0">
              <a:latin typeface="+mj-lt"/>
            </a:endParaRPr>
          </a:p>
        </p:txBody>
      </p:sp>
      <p:sp>
        <p:nvSpPr>
          <p:cNvPr id="43" name="TextBox 17"/>
          <p:cNvSpPr txBox="1"/>
          <p:nvPr/>
        </p:nvSpPr>
        <p:spPr>
          <a:xfrm>
            <a:off x="2202180" y="5585460"/>
            <a:ext cx="3916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0" dirty="0" smtClean="0">
                <a:latin typeface="+mj-lt"/>
              </a:rPr>
              <a:t>En caso de falla de alguno de los aplicativos respaldados en el Datacenter principal, el Datacenter de contingencia entra a suplir el servicio de dichos aplicativos</a:t>
            </a:r>
            <a:endParaRPr lang="es-CO" sz="1200" b="0" dirty="0">
              <a:latin typeface="+mj-lt"/>
            </a:endParaRPr>
          </a:p>
        </p:txBody>
      </p:sp>
      <p:grpSp>
        <p:nvGrpSpPr>
          <p:cNvPr id="44" name="Group 18"/>
          <p:cNvGrpSpPr/>
          <p:nvPr/>
        </p:nvGrpSpPr>
        <p:grpSpPr>
          <a:xfrm>
            <a:off x="2849181" y="2866262"/>
            <a:ext cx="1224659" cy="1521969"/>
            <a:chOff x="3483739" y="1056069"/>
            <a:chExt cx="2196000" cy="2729121"/>
          </a:xfrm>
        </p:grpSpPr>
        <p:sp>
          <p:nvSpPr>
            <p:cNvPr id="45" name="Rounded Rectangle 19"/>
            <p:cNvSpPr/>
            <p:nvPr>
              <p:custDataLst>
                <p:tags r:id="rId1"/>
              </p:custDataLst>
            </p:nvPr>
          </p:nvSpPr>
          <p:spPr bwMode="auto">
            <a:xfrm>
              <a:off x="3483739" y="1056069"/>
              <a:ext cx="2196000" cy="1980000"/>
            </a:xfrm>
            <a:prstGeom prst="roundRect">
              <a:avLst>
                <a:gd name="adj" fmla="val 6262"/>
              </a:avLst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1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Consola</a:t>
              </a:r>
              <a:r>
                <a:rPr kumimoji="0" lang="es-CO" sz="1200" b="1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 de monitoreo</a:t>
              </a:r>
              <a:endParaRPr kumimoji="0" lang="es-CO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grpSp>
          <p:nvGrpSpPr>
            <p:cNvPr id="46" name="Group 103"/>
            <p:cNvGrpSpPr/>
            <p:nvPr>
              <p:custDataLst>
                <p:tags r:id="rId2"/>
              </p:custDataLst>
            </p:nvPr>
          </p:nvGrpSpPr>
          <p:grpSpPr>
            <a:xfrm>
              <a:off x="3584195" y="2032249"/>
              <a:ext cx="1985908" cy="1752941"/>
              <a:chOff x="3343800" y="2470130"/>
              <a:chExt cx="1985908" cy="1752941"/>
            </a:xfrm>
            <a:solidFill>
              <a:schemeClr val="bg1"/>
            </a:solidFill>
          </p:grpSpPr>
          <p:pic>
            <p:nvPicPr>
              <p:cNvPr id="50" name="Picture 11"/>
              <p:cNvPicPr>
                <a:picLocks noChangeAspect="1" noChangeArrowheads="1"/>
              </p:cNvPicPr>
              <p:nvPr>
                <p:custDataLst>
                  <p:tags r:id="rId6"/>
                </p:custDataLst>
              </p:nvPr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3658871" y="2470130"/>
                <a:ext cx="448220" cy="58753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51" name="Picture 11"/>
              <p:cNvPicPr>
                <a:picLocks noChangeAspect="1" noChangeArrowheads="1"/>
              </p:cNvPicPr>
              <p:nvPr>
                <p:custDataLst>
                  <p:tags r:id="rId7"/>
                </p:custDataLst>
              </p:nvPr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648398" y="2470130"/>
                <a:ext cx="448220" cy="587531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52" name="TextBox 26"/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3343800" y="3064101"/>
                <a:ext cx="1195099" cy="1158970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CO" sz="1200" dirty="0" smtClean="0">
                    <a:latin typeface="+mj-lt"/>
                  </a:rPr>
                  <a:t>Barcelona 04</a:t>
                </a:r>
                <a:endParaRPr lang="es-CO" sz="1200" dirty="0">
                  <a:latin typeface="+mj-lt"/>
                </a:endParaRPr>
              </a:p>
            </p:txBody>
          </p:sp>
          <p:sp>
            <p:nvSpPr>
              <p:cNvPr id="53" name="TextBox 27"/>
              <p:cNvSpPr txBox="1"/>
              <p:nvPr>
                <p:custDataLst>
                  <p:tags r:id="rId9"/>
                </p:custDataLst>
              </p:nvPr>
            </p:nvSpPr>
            <p:spPr>
              <a:xfrm>
                <a:off x="4415309" y="3064099"/>
                <a:ext cx="914399" cy="827835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CO" sz="1200" dirty="0" smtClean="0">
                    <a:latin typeface="+mj-lt"/>
                  </a:rPr>
                  <a:t>SCOM</a:t>
                </a:r>
                <a:endParaRPr lang="es-CO" sz="1200" dirty="0">
                  <a:latin typeface="+mj-lt"/>
                </a:endParaRPr>
              </a:p>
            </p:txBody>
          </p:sp>
          <p:cxnSp>
            <p:nvCxnSpPr>
              <p:cNvPr id="54" name="Straight Arrow Connector 28"/>
              <p:cNvCxnSpPr/>
              <p:nvPr>
                <p:custDataLst>
                  <p:tags r:id="rId10"/>
                </p:custDataLst>
              </p:nvPr>
            </p:nvCxnSpPr>
            <p:spPr bwMode="auto">
              <a:xfrm flipH="1">
                <a:off x="4119970" y="2776774"/>
                <a:ext cx="432000" cy="1"/>
              </a:xfrm>
              <a:prstGeom prst="straightConnector1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ysDash"/>
                <a:round/>
                <a:headEnd type="none" w="med" len="med"/>
                <a:tailEnd type="arrow"/>
              </a:ln>
              <a:effectLst/>
            </p:spPr>
          </p:cxnSp>
        </p:grpSp>
        <p:grpSp>
          <p:nvGrpSpPr>
            <p:cNvPr id="47" name="Group 110"/>
            <p:cNvGrpSpPr/>
            <p:nvPr>
              <p:custDataLst>
                <p:tags r:id="rId3"/>
              </p:custDataLst>
            </p:nvPr>
          </p:nvGrpSpPr>
          <p:grpSpPr>
            <a:xfrm>
              <a:off x="4225907" y="1542564"/>
              <a:ext cx="686635" cy="1281493"/>
              <a:chOff x="3869601" y="1916050"/>
              <a:chExt cx="686635" cy="1281493"/>
            </a:xfrm>
            <a:solidFill>
              <a:schemeClr val="bg1"/>
            </a:solidFill>
          </p:grpSpPr>
          <p:sp>
            <p:nvSpPr>
              <p:cNvPr id="48" name="Arc 22"/>
              <p:cNvSpPr/>
              <p:nvPr>
                <p:custDataLst>
                  <p:tags r:id="rId4"/>
                </p:custDataLst>
              </p:nvPr>
            </p:nvSpPr>
            <p:spPr bwMode="auto">
              <a:xfrm>
                <a:off x="3951464" y="1916050"/>
                <a:ext cx="489396" cy="489392"/>
              </a:xfrm>
              <a:prstGeom prst="arc">
                <a:avLst>
                  <a:gd name="adj1" fmla="val 16200000"/>
                  <a:gd name="adj2" fmla="val 13637434"/>
                </a:avLst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oval" w="med" len="med"/>
                <a:tailEnd type="triangle" w="med" len="med"/>
              </a:ln>
              <a:effectLst/>
            </p:spPr>
            <p:txBody>
              <a:bodyPr vert="horz" wrap="non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endParaRPr kumimoji="0" lang="es-CO" sz="1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endParaRPr>
              </a:p>
            </p:txBody>
          </p:sp>
          <p:sp>
            <p:nvSpPr>
              <p:cNvPr id="49" name="TextBox 23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3869601" y="2038574"/>
                <a:ext cx="686635" cy="11589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s-CO" sz="1200" dirty="0" smtClean="0">
                    <a:solidFill>
                      <a:srgbClr val="FF0000"/>
                    </a:solidFill>
                    <a:latin typeface="+mj-lt"/>
                  </a:rPr>
                  <a:t>24 X 7</a:t>
                </a:r>
                <a:endParaRPr lang="es-CO" sz="1200" dirty="0">
                  <a:solidFill>
                    <a:srgbClr val="FF0000"/>
                  </a:solidFill>
                  <a:latin typeface="+mj-lt"/>
                </a:endParaRPr>
              </a:p>
            </p:txBody>
          </p:sp>
        </p:grpSp>
      </p:grpSp>
      <p:cxnSp>
        <p:nvCxnSpPr>
          <p:cNvPr id="55" name="Straight Arrow Connector 38"/>
          <p:cNvCxnSpPr>
            <a:stCxn id="45" idx="2"/>
          </p:cNvCxnSpPr>
          <p:nvPr/>
        </p:nvCxnSpPr>
        <p:spPr bwMode="auto">
          <a:xfrm flipH="1">
            <a:off x="3457382" y="3970463"/>
            <a:ext cx="0" cy="133200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6" name="Straight Arrow Connector 39"/>
          <p:cNvCxnSpPr/>
          <p:nvPr/>
        </p:nvCxnSpPr>
        <p:spPr bwMode="auto">
          <a:xfrm rot="5400000" flipV="1">
            <a:off x="6398785" y="5137357"/>
            <a:ext cx="0" cy="158400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7" name="Elbow Connector 44"/>
          <p:cNvCxnSpPr>
            <a:stCxn id="36" idx="1"/>
            <a:endCxn id="45" idx="0"/>
          </p:cNvCxnSpPr>
          <p:nvPr/>
        </p:nvCxnSpPr>
        <p:spPr bwMode="auto">
          <a:xfrm rot="10800000" flipV="1">
            <a:off x="3461511" y="2536508"/>
            <a:ext cx="755208" cy="329754"/>
          </a:xfrm>
          <a:prstGeom prst="bentConnector2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58" name="Curved Connector 56"/>
          <p:cNvCxnSpPr>
            <a:stCxn id="38" idx="0"/>
            <a:endCxn id="36" idx="2"/>
          </p:cNvCxnSpPr>
          <p:nvPr/>
        </p:nvCxnSpPr>
        <p:spPr bwMode="auto">
          <a:xfrm rot="16200000" flipV="1">
            <a:off x="5006824" y="3023719"/>
            <a:ext cx="262890" cy="303832"/>
          </a:xfrm>
          <a:prstGeom prst="curvedConnector3">
            <a:avLst>
              <a:gd name="adj1" fmla="val 50000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27799681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2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8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1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4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7" dur="2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0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3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6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33" grpId="0"/>
      <p:bldP spid="34" grpId="0" animBg="1"/>
      <p:bldP spid="35" grpId="0" animBg="1"/>
      <p:bldP spid="38" grpId="0"/>
      <p:bldP spid="39" grpId="0"/>
      <p:bldP spid="42" grpId="0"/>
      <p:bldP spid="4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983325" y="563150"/>
            <a:ext cx="8911687" cy="8078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C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evo Modelo operativo</a:t>
            </a:r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1983325" y="1311831"/>
            <a:ext cx="7783552" cy="55055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CO" sz="2000" b="1" dirty="0" smtClean="0">
                <a:solidFill>
                  <a:schemeClr val="accent1"/>
                </a:solidFill>
              </a:rPr>
              <a:t>Garantizar la Seguridad de los Sistemas</a:t>
            </a:r>
            <a:endParaRPr lang="es-CO" sz="2000" b="1" dirty="0">
              <a:solidFill>
                <a:schemeClr val="accent1"/>
              </a:solidFill>
            </a:endParaRPr>
          </a:p>
        </p:txBody>
      </p:sp>
      <p:grpSp>
        <p:nvGrpSpPr>
          <p:cNvPr id="7" name="Group 15"/>
          <p:cNvGrpSpPr/>
          <p:nvPr/>
        </p:nvGrpSpPr>
        <p:grpSpPr>
          <a:xfrm>
            <a:off x="2923669" y="1928559"/>
            <a:ext cx="1991231" cy="1812861"/>
            <a:chOff x="603379" y="1101789"/>
            <a:chExt cx="1991231" cy="1812861"/>
          </a:xfrm>
        </p:grpSpPr>
        <p:sp>
          <p:nvSpPr>
            <p:cNvPr id="8" name="Rounded Rectangle 5"/>
            <p:cNvSpPr/>
            <p:nvPr>
              <p:custDataLst>
                <p:tags r:id="rId12"/>
              </p:custDataLst>
            </p:nvPr>
          </p:nvSpPr>
          <p:spPr bwMode="auto">
            <a:xfrm>
              <a:off x="603379" y="1101789"/>
              <a:ext cx="1991231" cy="1812861"/>
            </a:xfrm>
            <a:prstGeom prst="roundRect">
              <a:avLst>
                <a:gd name="adj" fmla="val 6262"/>
              </a:avLst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9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Consola</a:t>
              </a:r>
              <a:r>
                <a:rPr kumimoji="0" lang="es-CO" sz="900" b="1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 de Monitoreo 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900" b="1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de Seguridad</a:t>
              </a:r>
              <a:endParaRPr kumimoji="0" lang="es-CO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pic>
          <p:nvPicPr>
            <p:cNvPr id="9" name="Picture 11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767446" y="1917949"/>
              <a:ext cx="448220" cy="587531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</p:pic>
        <p:sp>
          <p:nvSpPr>
            <p:cNvPr id="10" name="TextBox 12"/>
            <p:cNvSpPr txBox="1"/>
            <p:nvPr>
              <p:custDataLst>
                <p:tags r:id="rId14"/>
              </p:custDataLst>
            </p:nvPr>
          </p:nvSpPr>
          <p:spPr>
            <a:xfrm>
              <a:off x="1280161" y="1654669"/>
              <a:ext cx="1108709" cy="120032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Barcelona 04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McAffee Secure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Juniper VPN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Site Protector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WAF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DLP</a:t>
              </a:r>
              <a:r>
                <a:rPr lang="es-CO" sz="900" b="0" dirty="0">
                  <a:latin typeface="+mj-lt"/>
                </a:rPr>
                <a:t> </a:t>
              </a:r>
              <a:r>
                <a:rPr lang="es-CO" sz="900" b="0" dirty="0" smtClean="0">
                  <a:latin typeface="+mj-lt"/>
                </a:rPr>
                <a:t>Discover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DLP</a:t>
              </a:r>
            </a:p>
          </p:txBody>
        </p:sp>
      </p:grpSp>
      <p:grpSp>
        <p:nvGrpSpPr>
          <p:cNvPr id="11" name="Group 46"/>
          <p:cNvGrpSpPr/>
          <p:nvPr/>
        </p:nvGrpSpPr>
        <p:grpSpPr>
          <a:xfrm>
            <a:off x="5522089" y="1928559"/>
            <a:ext cx="1991231" cy="1812861"/>
            <a:chOff x="3224659" y="1231329"/>
            <a:chExt cx="1991231" cy="1812861"/>
          </a:xfrm>
        </p:grpSpPr>
        <p:grpSp>
          <p:nvGrpSpPr>
            <p:cNvPr id="12" name="Group 16"/>
            <p:cNvGrpSpPr/>
            <p:nvPr/>
          </p:nvGrpSpPr>
          <p:grpSpPr>
            <a:xfrm>
              <a:off x="3224659" y="1231329"/>
              <a:ext cx="1991231" cy="1812861"/>
              <a:chOff x="603379" y="1101789"/>
              <a:chExt cx="1991231" cy="1812861"/>
            </a:xfrm>
          </p:grpSpPr>
          <p:sp>
            <p:nvSpPr>
              <p:cNvPr id="14" name="Rounded Rectangle 17"/>
              <p:cNvSpPr/>
              <p:nvPr>
                <p:custDataLst>
                  <p:tags r:id="rId10"/>
                </p:custDataLst>
              </p:nvPr>
            </p:nvSpPr>
            <p:spPr bwMode="auto">
              <a:xfrm>
                <a:off x="603379" y="1101789"/>
                <a:ext cx="1991231" cy="1812861"/>
              </a:xfrm>
              <a:prstGeom prst="roundRect">
                <a:avLst>
                  <a:gd name="adj" fmla="val 6262"/>
                </a:avLst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72000" rIns="72000" bIns="72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r>
                  <a:rPr kumimoji="0" lang="es-CO" sz="9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+mj-lt"/>
                  </a:rPr>
                  <a:t>Pasos a Producción</a:t>
                </a:r>
              </a:p>
            </p:txBody>
          </p:sp>
          <p:sp>
            <p:nvSpPr>
              <p:cNvPr id="15" name="TextBox 19"/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1234441" y="1688959"/>
                <a:ext cx="1253489" cy="92333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s-CO" sz="900" b="0" dirty="0" smtClean="0">
                    <a:latin typeface="+mj-lt"/>
                  </a:rPr>
                  <a:t>Monitorea los pasos a producción a través del </a:t>
                </a:r>
                <a:r>
                  <a:rPr lang="es-CO" sz="900" dirty="0" smtClean="0">
                    <a:latin typeface="+mj-lt"/>
                  </a:rPr>
                  <a:t>auditor de seguridad de la información</a:t>
                </a:r>
              </a:p>
            </p:txBody>
          </p:sp>
        </p:grpSp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3337489" y="2002522"/>
              <a:ext cx="358896" cy="6225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6" name="Group 45"/>
          <p:cNvGrpSpPr/>
          <p:nvPr/>
        </p:nvGrpSpPr>
        <p:grpSpPr>
          <a:xfrm>
            <a:off x="8051929" y="1928559"/>
            <a:ext cx="1991231" cy="1812861"/>
            <a:chOff x="5754499" y="1200849"/>
            <a:chExt cx="1991231" cy="1812861"/>
          </a:xfrm>
        </p:grpSpPr>
        <p:grpSp>
          <p:nvGrpSpPr>
            <p:cNvPr id="17" name="Group 21"/>
            <p:cNvGrpSpPr/>
            <p:nvPr/>
          </p:nvGrpSpPr>
          <p:grpSpPr>
            <a:xfrm>
              <a:off x="5754499" y="1200849"/>
              <a:ext cx="1991231" cy="1812861"/>
              <a:chOff x="603379" y="1101789"/>
              <a:chExt cx="1991231" cy="1812861"/>
            </a:xfrm>
          </p:grpSpPr>
          <p:sp>
            <p:nvSpPr>
              <p:cNvPr id="23" name="Rounded Rectangle 22"/>
              <p:cNvSpPr/>
              <p:nvPr>
                <p:custDataLst>
                  <p:tags r:id="rId8"/>
                </p:custDataLst>
              </p:nvPr>
            </p:nvSpPr>
            <p:spPr bwMode="auto">
              <a:xfrm>
                <a:off x="603379" y="1101789"/>
                <a:ext cx="1991231" cy="1812861"/>
              </a:xfrm>
              <a:prstGeom prst="roundRect">
                <a:avLst>
                  <a:gd name="adj" fmla="val 6262"/>
                </a:avLst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72000" rIns="72000" bIns="72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r>
                  <a:rPr kumimoji="0" lang="es-CO" sz="9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+mj-lt"/>
                  </a:rPr>
                  <a:t>Gestión de Medios </a:t>
                </a:r>
              </a:p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r>
                  <a:rPr kumimoji="0" lang="es-CO" sz="9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+mj-lt"/>
                  </a:rPr>
                  <a:t>Magnéticas</a:t>
                </a:r>
              </a:p>
            </p:txBody>
          </p:sp>
          <p:sp>
            <p:nvSpPr>
              <p:cNvPr id="24" name="TextBox 23"/>
              <p:cNvSpPr txBox="1"/>
              <p:nvPr>
                <p:custDataLst>
                  <p:tags r:id="rId9"/>
                </p:custDataLst>
              </p:nvPr>
            </p:nvSpPr>
            <p:spPr>
              <a:xfrm>
                <a:off x="1463041" y="1643239"/>
                <a:ext cx="941069" cy="92333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>
                  <a:buFont typeface="Arial" pitchFamily="34" charset="0"/>
                  <a:buChar char="•"/>
                </a:pPr>
                <a:r>
                  <a:rPr lang="es-CO" sz="900" b="0" dirty="0" smtClean="0">
                    <a:latin typeface="+mj-lt"/>
                  </a:rPr>
                  <a:t>Custodia de respaldos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s-CO" sz="900" b="0" dirty="0" smtClean="0">
                    <a:latin typeface="+mj-lt"/>
                  </a:rPr>
                  <a:t>Solicitud de respaldos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s-CO" sz="900" b="0" dirty="0" smtClean="0">
                    <a:latin typeface="+mj-lt"/>
                  </a:rPr>
                  <a:t>Rotación de respaldos</a:t>
                </a:r>
              </a:p>
            </p:txBody>
          </p:sp>
        </p:grpSp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5982654" y="1734357"/>
              <a:ext cx="413434" cy="564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9" name="Group 24"/>
            <p:cNvGrpSpPr/>
            <p:nvPr>
              <p:custDataLst>
                <p:tags r:id="rId5"/>
              </p:custDataLst>
            </p:nvPr>
          </p:nvGrpSpPr>
          <p:grpSpPr>
            <a:xfrm>
              <a:off x="6082691" y="2552700"/>
              <a:ext cx="213360" cy="203482"/>
              <a:chOff x="2133600" y="4126230"/>
              <a:chExt cx="411480" cy="392430"/>
            </a:xfrm>
            <a:solidFill>
              <a:srgbClr val="CC3300"/>
            </a:solidFill>
          </p:grpSpPr>
          <p:sp>
            <p:nvSpPr>
              <p:cNvPr id="21" name="Oval 25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2133600" y="4210050"/>
                <a:ext cx="411480" cy="30861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endParaRPr kumimoji="0" lang="es-CO" sz="9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2" name="Oval 26"/>
              <p:cNvSpPr/>
              <p:nvPr>
                <p:custDataLst>
                  <p:tags r:id="rId7"/>
                </p:custDataLst>
              </p:nvPr>
            </p:nvSpPr>
            <p:spPr bwMode="auto">
              <a:xfrm>
                <a:off x="2133600" y="4126230"/>
                <a:ext cx="411480" cy="30861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endParaRPr kumimoji="0" lang="es-CO" sz="9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cxnSp>
          <p:nvCxnSpPr>
            <p:cNvPr id="20" name="Straight Arrow Connector 28"/>
            <p:cNvCxnSpPr>
              <a:stCxn id="18" idx="2"/>
            </p:cNvCxnSpPr>
            <p:nvPr/>
          </p:nvCxnSpPr>
          <p:spPr bwMode="auto">
            <a:xfrm>
              <a:off x="6189371" y="2299189"/>
              <a:ext cx="0" cy="216000"/>
            </a:xfrm>
            <a:prstGeom prst="straightConnector1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25" name="Group 29"/>
          <p:cNvGrpSpPr/>
          <p:nvPr/>
        </p:nvGrpSpPr>
        <p:grpSpPr>
          <a:xfrm>
            <a:off x="4226689" y="4081209"/>
            <a:ext cx="1991231" cy="1904301"/>
            <a:chOff x="603379" y="1101789"/>
            <a:chExt cx="1991231" cy="1904301"/>
          </a:xfrm>
        </p:grpSpPr>
        <p:sp>
          <p:nvSpPr>
            <p:cNvPr id="26" name="Rounded Rectangle 30"/>
            <p:cNvSpPr/>
            <p:nvPr>
              <p:custDataLst>
                <p:tags r:id="rId3"/>
              </p:custDataLst>
            </p:nvPr>
          </p:nvSpPr>
          <p:spPr bwMode="auto">
            <a:xfrm>
              <a:off x="603379" y="1101789"/>
              <a:ext cx="1991231" cy="1904301"/>
            </a:xfrm>
            <a:prstGeom prst="roundRect">
              <a:avLst>
                <a:gd name="adj" fmla="val 6262"/>
              </a:avLst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90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Administración de la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lang="es-CO" sz="900" dirty="0">
                  <a:latin typeface="+mj-lt"/>
                </a:rPr>
                <a:t>S</a:t>
              </a:r>
              <a:r>
                <a:rPr lang="es-CO" sz="900" dirty="0" smtClean="0">
                  <a:latin typeface="+mj-lt"/>
                </a:rPr>
                <a:t>eguridad de la Información </a:t>
              </a:r>
              <a:r>
                <a:rPr kumimoji="0" lang="es-CO" sz="90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 </a:t>
              </a:r>
            </a:p>
          </p:txBody>
        </p:sp>
        <p:sp>
          <p:nvSpPr>
            <p:cNvPr id="27" name="TextBox 31"/>
            <p:cNvSpPr txBox="1"/>
            <p:nvPr>
              <p:custDataLst>
                <p:tags r:id="rId4"/>
              </p:custDataLst>
            </p:nvPr>
          </p:nvSpPr>
          <p:spPr>
            <a:xfrm>
              <a:off x="1120140" y="1620379"/>
              <a:ext cx="1383029" cy="120032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Claves admin.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Llaves de encripción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Cifrado de discos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Admin. de sobreflex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Entrega de pines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Admin. de certificados digitales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Análisis PCI</a:t>
              </a:r>
            </a:p>
          </p:txBody>
        </p:sp>
      </p:grpSp>
      <p:grpSp>
        <p:nvGrpSpPr>
          <p:cNvPr id="28" name="Group 37"/>
          <p:cNvGrpSpPr/>
          <p:nvPr/>
        </p:nvGrpSpPr>
        <p:grpSpPr>
          <a:xfrm>
            <a:off x="6878449" y="4104069"/>
            <a:ext cx="1991231" cy="1892871"/>
            <a:chOff x="603379" y="1101789"/>
            <a:chExt cx="1991231" cy="1892871"/>
          </a:xfrm>
        </p:grpSpPr>
        <p:sp>
          <p:nvSpPr>
            <p:cNvPr id="29" name="Rounded Rectangle 38"/>
            <p:cNvSpPr/>
            <p:nvPr>
              <p:custDataLst>
                <p:tags r:id="rId1"/>
              </p:custDataLst>
            </p:nvPr>
          </p:nvSpPr>
          <p:spPr bwMode="auto">
            <a:xfrm>
              <a:off x="603379" y="1101789"/>
              <a:ext cx="1991231" cy="1892871"/>
            </a:xfrm>
            <a:prstGeom prst="roundRect">
              <a:avLst>
                <a:gd name="adj" fmla="val 6262"/>
              </a:avLst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9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Seguridad y Control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lang="es-CO" sz="900" b="1" dirty="0" smtClean="0">
                  <a:latin typeface="+mj-lt"/>
                </a:rPr>
                <a:t>Administrativo</a:t>
              </a:r>
              <a:endParaRPr kumimoji="0" lang="es-CO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30" name="TextBox 39"/>
            <p:cNvSpPr txBox="1"/>
            <p:nvPr>
              <p:custDataLst>
                <p:tags r:id="rId2"/>
              </p:custDataLst>
            </p:nvPr>
          </p:nvSpPr>
          <p:spPr>
            <a:xfrm>
              <a:off x="1348740" y="1711819"/>
              <a:ext cx="1200150" cy="92333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Reuniones de seguimiento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Informes del área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900" b="0" dirty="0" smtClean="0">
                  <a:latin typeface="+mj-lt"/>
                </a:rPr>
                <a:t>Revisión y actualización de procedimientos</a:t>
              </a:r>
            </a:p>
          </p:txBody>
        </p:sp>
      </p:grpSp>
      <p:pic>
        <p:nvPicPr>
          <p:cNvPr id="31" name="Picture 3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4320540" y="5043489"/>
            <a:ext cx="422641" cy="427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4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024688" y="4927283"/>
            <a:ext cx="570949" cy="555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791963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9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2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589213" y="1578634"/>
            <a:ext cx="8915399" cy="4390845"/>
          </a:xfrm>
        </p:spPr>
        <p:txBody>
          <a:bodyPr>
            <a:noAutofit/>
          </a:bodyPr>
          <a:lstStyle/>
          <a:p>
            <a:pPr algn="ctr"/>
            <a:r>
              <a:rPr lang="es-EC" sz="4000" b="1" cap="small" dirty="0"/>
              <a:t>ANÁLISIS</a:t>
            </a:r>
            <a:r>
              <a:rPr lang="es-EC" sz="4000" b="1" dirty="0"/>
              <a:t> DE LA SITUACIÓN ACTUAL DE LOS PROCESOS DEL ÁREA DE SERVIDORES DE LA EMPRESA </a:t>
            </a:r>
            <a:r>
              <a:rPr lang="es-CO" sz="4000" b="1" dirty="0"/>
              <a:t>ACMECARD</a:t>
            </a:r>
            <a:r>
              <a:rPr lang="es-EC" sz="4000" b="1" dirty="0"/>
              <a:t> E IMPLEMENTACIÓN DE MEJORAS PARA EL CORRECTO FUNCIONAMIENTO OPERATIVO DEL ÁREA</a:t>
            </a:r>
            <a:endParaRPr lang="es-EC" sz="4000" dirty="0"/>
          </a:p>
        </p:txBody>
      </p:sp>
    </p:spTree>
    <p:extLst>
      <p:ext uri="{BB962C8B-B14F-4D97-AF65-F5344CB8AC3E}">
        <p14:creationId xmlns:p14="http://schemas.microsoft.com/office/powerpoint/2010/main" val="2027053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 txBox="1">
            <a:spLocks/>
          </p:cNvSpPr>
          <p:nvPr/>
        </p:nvSpPr>
        <p:spPr>
          <a:xfrm>
            <a:off x="1983325" y="563150"/>
            <a:ext cx="8911687" cy="8078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EC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evo Modelo operativo</a:t>
            </a:r>
            <a:endParaRPr lang="es-EC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itle 3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983325" y="1265644"/>
            <a:ext cx="7783552" cy="550552"/>
          </a:xfrm>
        </p:spPr>
        <p:txBody>
          <a:bodyPr>
            <a:normAutofit/>
          </a:bodyPr>
          <a:lstStyle/>
          <a:p>
            <a:r>
              <a:rPr lang="es-CO" sz="2000" b="1" dirty="0" smtClean="0">
                <a:solidFill>
                  <a:schemeClr val="accent1"/>
                </a:solidFill>
              </a:rPr>
              <a:t>Administración de Operaciones</a:t>
            </a:r>
            <a:endParaRPr lang="es-CO" sz="2000" b="1" dirty="0">
              <a:solidFill>
                <a:schemeClr val="accent1"/>
              </a:solidFill>
            </a:endParaRPr>
          </a:p>
        </p:txBody>
      </p:sp>
      <p:grpSp>
        <p:nvGrpSpPr>
          <p:cNvPr id="6" name="Group 42"/>
          <p:cNvGrpSpPr/>
          <p:nvPr/>
        </p:nvGrpSpPr>
        <p:grpSpPr>
          <a:xfrm>
            <a:off x="5513149" y="1757109"/>
            <a:ext cx="2349371" cy="1812861"/>
            <a:chOff x="4920109" y="3570669"/>
            <a:chExt cx="2349371" cy="1812861"/>
          </a:xfrm>
        </p:grpSpPr>
        <p:grpSp>
          <p:nvGrpSpPr>
            <p:cNvPr id="7" name="Group 21"/>
            <p:cNvGrpSpPr/>
            <p:nvPr/>
          </p:nvGrpSpPr>
          <p:grpSpPr>
            <a:xfrm>
              <a:off x="4920109" y="3570669"/>
              <a:ext cx="2349371" cy="1812861"/>
              <a:chOff x="603379" y="1101789"/>
              <a:chExt cx="1991231" cy="1812861"/>
            </a:xfrm>
          </p:grpSpPr>
          <p:sp>
            <p:nvSpPr>
              <p:cNvPr id="13" name="Rounded Rectangle 20"/>
              <p:cNvSpPr/>
              <p:nvPr>
                <p:custDataLst>
                  <p:tags r:id="rId18"/>
                </p:custDataLst>
              </p:nvPr>
            </p:nvSpPr>
            <p:spPr bwMode="auto">
              <a:xfrm>
                <a:off x="603379" y="1101789"/>
                <a:ext cx="1991231" cy="1812861"/>
              </a:xfrm>
              <a:prstGeom prst="roundRect">
                <a:avLst>
                  <a:gd name="adj" fmla="val 6262"/>
                </a:avLst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72000" rIns="72000" bIns="72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r>
                  <a:rPr kumimoji="0" lang="es-CO" sz="10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+mj-lt"/>
                  </a:rPr>
                  <a:t>Servicio de Recovery</a:t>
                </a:r>
              </a:p>
            </p:txBody>
          </p:sp>
          <p:sp>
            <p:nvSpPr>
              <p:cNvPr id="14" name="TextBox 21"/>
              <p:cNvSpPr txBox="1"/>
              <p:nvPr>
                <p:custDataLst>
                  <p:tags r:id="rId19"/>
                </p:custDataLst>
              </p:nvPr>
            </p:nvSpPr>
            <p:spPr>
              <a:xfrm>
                <a:off x="1228658" y="1780399"/>
                <a:ext cx="1298139" cy="86177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s-CO" sz="1000" b="0" dirty="0" smtClean="0">
                    <a:latin typeface="+mj-lt"/>
                  </a:rPr>
                  <a:t>Llevar a cabo el servicio de restauración de la información respaldada</a:t>
                </a:r>
              </a:p>
            </p:txBody>
          </p:sp>
        </p:grpSp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5148264" y="4033839"/>
              <a:ext cx="413434" cy="564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Group 24"/>
            <p:cNvGrpSpPr/>
            <p:nvPr>
              <p:custDataLst>
                <p:tags r:id="rId15"/>
              </p:custDataLst>
            </p:nvPr>
          </p:nvGrpSpPr>
          <p:grpSpPr>
            <a:xfrm>
              <a:off x="5248301" y="4922520"/>
              <a:ext cx="213360" cy="203482"/>
              <a:chOff x="2133600" y="4126230"/>
              <a:chExt cx="411480" cy="392430"/>
            </a:xfrm>
            <a:solidFill>
              <a:srgbClr val="CC3300"/>
            </a:solidFill>
          </p:grpSpPr>
          <p:sp>
            <p:nvSpPr>
              <p:cNvPr id="11" name="Oval 18"/>
              <p:cNvSpPr/>
              <p:nvPr>
                <p:custDataLst>
                  <p:tags r:id="rId16"/>
                </p:custDataLst>
              </p:nvPr>
            </p:nvSpPr>
            <p:spPr bwMode="auto">
              <a:xfrm>
                <a:off x="2133600" y="4210050"/>
                <a:ext cx="411480" cy="30861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endParaRPr kumimoji="0" lang="es-CO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12" name="Oval 19"/>
              <p:cNvSpPr/>
              <p:nvPr>
                <p:custDataLst>
                  <p:tags r:id="rId17"/>
                </p:custDataLst>
              </p:nvPr>
            </p:nvSpPr>
            <p:spPr bwMode="auto">
              <a:xfrm>
                <a:off x="2133600" y="4126230"/>
                <a:ext cx="411480" cy="30861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endParaRPr kumimoji="0" lang="es-CO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cxnSp>
          <p:nvCxnSpPr>
            <p:cNvPr id="10" name="Straight Arrow Connector 17"/>
            <p:cNvCxnSpPr/>
            <p:nvPr/>
          </p:nvCxnSpPr>
          <p:spPr bwMode="auto">
            <a:xfrm flipV="1">
              <a:off x="5354981" y="4598671"/>
              <a:ext cx="0" cy="323849"/>
            </a:xfrm>
            <a:prstGeom prst="straightConnector1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15" name="Group 39"/>
          <p:cNvGrpSpPr/>
          <p:nvPr/>
        </p:nvGrpSpPr>
        <p:grpSpPr>
          <a:xfrm>
            <a:off x="2884109" y="1757109"/>
            <a:ext cx="2349371" cy="1812861"/>
            <a:chOff x="1654939" y="1326579"/>
            <a:chExt cx="2349371" cy="1812861"/>
          </a:xfrm>
        </p:grpSpPr>
        <p:sp>
          <p:nvSpPr>
            <p:cNvPr id="16" name="Rounded Rectangle 5"/>
            <p:cNvSpPr/>
            <p:nvPr>
              <p:custDataLst>
                <p:tags r:id="rId13"/>
              </p:custDataLst>
            </p:nvPr>
          </p:nvSpPr>
          <p:spPr bwMode="auto">
            <a:xfrm>
              <a:off x="1654939" y="1326579"/>
              <a:ext cx="2349371" cy="1812861"/>
            </a:xfrm>
            <a:prstGeom prst="roundRect">
              <a:avLst>
                <a:gd name="adj" fmla="val 6262"/>
              </a:avLst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72000" tIns="72000" rIns="72000" bIns="72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kumimoji="0" lang="es-CO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</a:rPr>
                <a:t>Procesamiento de Transacciones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 typeface="Wingdings" pitchFamily="2" charset="2"/>
                <a:buNone/>
                <a:tabLst/>
              </a:pPr>
              <a:r>
                <a:rPr lang="es-CO" sz="1000" dirty="0" smtClean="0">
                  <a:latin typeface="+mj-lt"/>
                </a:rPr>
                <a:t>y Disponibilidad de la Información</a:t>
              </a:r>
              <a:endParaRPr kumimoji="0" lang="es-CO" sz="10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</a:endParaRPr>
            </a:p>
          </p:txBody>
        </p:sp>
        <p:sp>
          <p:nvSpPr>
            <p:cNvPr id="17" name="TextBox 7"/>
            <p:cNvSpPr txBox="1"/>
            <p:nvPr>
              <p:custDataLst>
                <p:tags r:id="rId14"/>
              </p:custDataLst>
            </p:nvPr>
          </p:nvSpPr>
          <p:spPr>
            <a:xfrm>
              <a:off x="2594611" y="2028049"/>
              <a:ext cx="1337309" cy="101566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buFont typeface="Arial" pitchFamily="34" charset="0"/>
                <a:buChar char="•"/>
              </a:pPr>
              <a:r>
                <a:rPr lang="es-CO" sz="1000" b="0" dirty="0" smtClean="0">
                  <a:latin typeface="+mj-lt"/>
                </a:rPr>
                <a:t>Procesamiento Banco </a:t>
              </a:r>
              <a:r>
                <a:rPr lang="es-CO" sz="1000" b="0" dirty="0">
                  <a:latin typeface="+mj-lt"/>
                </a:rPr>
                <a:t>P</a:t>
              </a:r>
              <a:r>
                <a:rPr lang="es-CO" sz="1000" b="0" dirty="0" smtClean="0">
                  <a:latin typeface="+mj-lt"/>
                </a:rPr>
                <a:t>rocesados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1000" b="0" dirty="0" smtClean="0">
                  <a:latin typeface="+mj-lt"/>
                </a:rPr>
                <a:t>Cierre Diners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1000" b="0" dirty="0" smtClean="0">
                  <a:latin typeface="+mj-lt"/>
                </a:rPr>
                <a:t>Cierre Visa</a:t>
              </a:r>
            </a:p>
            <a:p>
              <a:pPr>
                <a:buFont typeface="Arial" pitchFamily="34" charset="0"/>
                <a:buChar char="•"/>
              </a:pPr>
              <a:r>
                <a:rPr lang="es-CO" sz="1000" b="0" dirty="0" smtClean="0">
                  <a:latin typeface="+mj-lt"/>
                </a:rPr>
                <a:t>Cierre Mastercard</a:t>
              </a:r>
            </a:p>
          </p:txBody>
        </p:sp>
        <p:pic>
          <p:nvPicPr>
            <p:cNvPr id="18" name="Picture 3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1879283" y="2121219"/>
              <a:ext cx="607347" cy="6219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9" name="Group 41"/>
          <p:cNvGrpSpPr/>
          <p:nvPr/>
        </p:nvGrpSpPr>
        <p:grpSpPr>
          <a:xfrm>
            <a:off x="8142189" y="1757109"/>
            <a:ext cx="2349371" cy="1812861"/>
            <a:chOff x="4920109" y="1326579"/>
            <a:chExt cx="2349371" cy="1812861"/>
          </a:xfrm>
        </p:grpSpPr>
        <p:grpSp>
          <p:nvGrpSpPr>
            <p:cNvPr id="20" name="Group 16"/>
            <p:cNvGrpSpPr/>
            <p:nvPr/>
          </p:nvGrpSpPr>
          <p:grpSpPr>
            <a:xfrm>
              <a:off x="4920109" y="1326579"/>
              <a:ext cx="2349371" cy="1812861"/>
              <a:chOff x="603379" y="1101789"/>
              <a:chExt cx="1991231" cy="1812861"/>
            </a:xfrm>
          </p:grpSpPr>
          <p:sp>
            <p:nvSpPr>
              <p:cNvPr id="26" name="Rounded Rectangle 11"/>
              <p:cNvSpPr/>
              <p:nvPr>
                <p:custDataLst>
                  <p:tags r:id="rId11"/>
                </p:custDataLst>
              </p:nvPr>
            </p:nvSpPr>
            <p:spPr bwMode="auto">
              <a:xfrm>
                <a:off x="603379" y="1101789"/>
                <a:ext cx="1991231" cy="1812861"/>
              </a:xfrm>
              <a:prstGeom prst="roundRect">
                <a:avLst>
                  <a:gd name="adj" fmla="val 6262"/>
                </a:avLst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72000" rIns="72000" bIns="72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r>
                  <a:rPr kumimoji="0" lang="es-CO" sz="10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+mj-lt"/>
                  </a:rPr>
                  <a:t>Servicio de Backup</a:t>
                </a:r>
              </a:p>
            </p:txBody>
          </p:sp>
          <p:sp>
            <p:nvSpPr>
              <p:cNvPr id="27" name="TextBox 12"/>
              <p:cNvSpPr txBox="1"/>
              <p:nvPr>
                <p:custDataLst>
                  <p:tags r:id="rId12"/>
                </p:custDataLst>
              </p:nvPr>
            </p:nvSpPr>
            <p:spPr>
              <a:xfrm>
                <a:off x="1234441" y="1688959"/>
                <a:ext cx="1253489" cy="7078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s-CO" sz="1000" b="0" dirty="0" smtClean="0">
                    <a:latin typeface="+mj-lt"/>
                  </a:rPr>
                  <a:t>Llevar a cabo el servicio de backup de información respaldada</a:t>
                </a:r>
                <a:endParaRPr lang="es-CO" sz="1000" dirty="0" smtClean="0">
                  <a:latin typeface="+mj-lt"/>
                </a:endParaRPr>
              </a:p>
            </p:txBody>
          </p:sp>
        </p:grpSp>
        <p:pic>
          <p:nvPicPr>
            <p:cNvPr id="21" name="Picture 2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5163504" y="1728789"/>
              <a:ext cx="413434" cy="564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22" name="Group 24"/>
            <p:cNvGrpSpPr/>
            <p:nvPr>
              <p:custDataLst>
                <p:tags r:id="rId8"/>
              </p:custDataLst>
            </p:nvPr>
          </p:nvGrpSpPr>
          <p:grpSpPr>
            <a:xfrm>
              <a:off x="5263541" y="2617470"/>
              <a:ext cx="213360" cy="203482"/>
              <a:chOff x="2133600" y="4126230"/>
              <a:chExt cx="411480" cy="392430"/>
            </a:xfrm>
            <a:solidFill>
              <a:srgbClr val="CC3300"/>
            </a:solidFill>
          </p:grpSpPr>
          <p:sp>
            <p:nvSpPr>
              <p:cNvPr id="24" name="Oval 35"/>
              <p:cNvSpPr/>
              <p:nvPr>
                <p:custDataLst>
                  <p:tags r:id="rId9"/>
                </p:custDataLst>
              </p:nvPr>
            </p:nvSpPr>
            <p:spPr bwMode="auto">
              <a:xfrm>
                <a:off x="2133600" y="4210050"/>
                <a:ext cx="411480" cy="30861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endParaRPr kumimoji="0" lang="es-CO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25" name="Oval 36"/>
              <p:cNvSpPr/>
              <p:nvPr>
                <p:custDataLst>
                  <p:tags r:id="rId10"/>
                </p:custDataLst>
              </p:nvPr>
            </p:nvSpPr>
            <p:spPr bwMode="auto">
              <a:xfrm>
                <a:off x="2133600" y="4126230"/>
                <a:ext cx="411480" cy="308610"/>
              </a:xfrm>
              <a:prstGeom prst="ellips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endParaRPr kumimoji="0" lang="es-CO" sz="10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</p:grpSp>
        <p:cxnSp>
          <p:nvCxnSpPr>
            <p:cNvPr id="23" name="Straight Arrow Connector 37"/>
            <p:cNvCxnSpPr>
              <a:stCxn id="21" idx="2"/>
            </p:cNvCxnSpPr>
            <p:nvPr/>
          </p:nvCxnSpPr>
          <p:spPr bwMode="auto">
            <a:xfrm>
              <a:off x="5370221" y="2293621"/>
              <a:ext cx="0" cy="323849"/>
            </a:xfrm>
            <a:prstGeom prst="straightConnector1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</p:grpSp>
      <p:grpSp>
        <p:nvGrpSpPr>
          <p:cNvPr id="28" name="Group 31"/>
          <p:cNvGrpSpPr/>
          <p:nvPr/>
        </p:nvGrpSpPr>
        <p:grpSpPr>
          <a:xfrm>
            <a:off x="6837848" y="3909759"/>
            <a:ext cx="2349371" cy="1814400"/>
            <a:chOff x="1654939" y="3479229"/>
            <a:chExt cx="2349371" cy="1814400"/>
          </a:xfrm>
        </p:grpSpPr>
        <p:grpSp>
          <p:nvGrpSpPr>
            <p:cNvPr id="29" name="Group 22"/>
            <p:cNvGrpSpPr/>
            <p:nvPr>
              <p:custDataLst>
                <p:tags r:id="rId5"/>
              </p:custDataLst>
            </p:nvPr>
          </p:nvGrpSpPr>
          <p:grpSpPr>
            <a:xfrm>
              <a:off x="1654939" y="3479229"/>
              <a:ext cx="2349371" cy="1814400"/>
              <a:chOff x="603379" y="1101789"/>
              <a:chExt cx="1991231" cy="1814400"/>
            </a:xfrm>
          </p:grpSpPr>
          <p:sp>
            <p:nvSpPr>
              <p:cNvPr id="31" name="Rounded Rectangle 43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603379" y="1101789"/>
                <a:ext cx="1991231" cy="1814400"/>
              </a:xfrm>
              <a:prstGeom prst="roundRect">
                <a:avLst>
                  <a:gd name="adj" fmla="val 6262"/>
                </a:avLst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72000" rIns="72000" bIns="72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r>
                  <a:rPr kumimoji="0" lang="es-CO" sz="10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+mj-lt"/>
                  </a:rPr>
                  <a:t>Soporte a Usuarios</a:t>
                </a:r>
              </a:p>
            </p:txBody>
          </p:sp>
          <p:sp>
            <p:nvSpPr>
              <p:cNvPr id="32" name="TextBox 44"/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1235117" y="1734679"/>
                <a:ext cx="1307826" cy="7078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s-CO" sz="1000" b="0" dirty="0" smtClean="0">
                    <a:latin typeface="+mj-lt"/>
                  </a:rPr>
                  <a:t>Prestar los servicios de soporte publicados en la herramienta de Service Desk</a:t>
                </a:r>
              </a:p>
            </p:txBody>
          </p:sp>
        </p:grpSp>
        <p:pic>
          <p:nvPicPr>
            <p:cNvPr id="30" name="Picture 4"/>
            <p:cNvPicPr>
              <a:picLocks noChangeAspect="1" noChangeArrowheads="1"/>
            </p:cNvPicPr>
            <p:nvPr/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1778319" y="4155759"/>
              <a:ext cx="576262" cy="5762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3" name="Group 45"/>
          <p:cNvGrpSpPr/>
          <p:nvPr/>
        </p:nvGrpSpPr>
        <p:grpSpPr>
          <a:xfrm>
            <a:off x="4208808" y="3909759"/>
            <a:ext cx="2349371" cy="1814400"/>
            <a:chOff x="834329" y="3604959"/>
            <a:chExt cx="2349371" cy="1814400"/>
          </a:xfrm>
        </p:grpSpPr>
        <p:grpSp>
          <p:nvGrpSpPr>
            <p:cNvPr id="34" name="Group 22"/>
            <p:cNvGrpSpPr/>
            <p:nvPr>
              <p:custDataLst>
                <p:tags r:id="rId2"/>
              </p:custDataLst>
            </p:nvPr>
          </p:nvGrpSpPr>
          <p:grpSpPr>
            <a:xfrm>
              <a:off x="834329" y="3604959"/>
              <a:ext cx="2349371" cy="1814400"/>
              <a:chOff x="603379" y="1101789"/>
              <a:chExt cx="1991231" cy="1814400"/>
            </a:xfrm>
          </p:grpSpPr>
          <p:sp>
            <p:nvSpPr>
              <p:cNvPr id="36" name="Rounded Rectangle 23"/>
              <p:cNvSpPr/>
              <p:nvPr>
                <p:custDataLst>
                  <p:tags r:id="rId3"/>
                </p:custDataLst>
              </p:nvPr>
            </p:nvSpPr>
            <p:spPr bwMode="auto">
              <a:xfrm>
                <a:off x="603379" y="1101789"/>
                <a:ext cx="1991231" cy="1814400"/>
              </a:xfrm>
              <a:prstGeom prst="roundRect">
                <a:avLst>
                  <a:gd name="adj" fmla="val 6262"/>
                </a:avLst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72000" tIns="72000" rIns="72000" bIns="7200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Tx/>
                  <a:buSzPct val="100000"/>
                  <a:buFont typeface="Wingdings" pitchFamily="2" charset="2"/>
                  <a:buNone/>
                  <a:tabLst/>
                </a:pPr>
                <a:r>
                  <a:rPr kumimoji="0" lang="es-CO" sz="1000" b="1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+mj-lt"/>
                  </a:rPr>
                  <a:t>Depuración de archivos</a:t>
                </a:r>
              </a:p>
            </p:txBody>
          </p:sp>
          <p:sp>
            <p:nvSpPr>
              <p:cNvPr id="37" name="TextBox 24"/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1235117" y="1734679"/>
                <a:ext cx="1307826" cy="70788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s-CO" sz="1000" b="0" dirty="0" smtClean="0">
                    <a:latin typeface="+mj-lt"/>
                  </a:rPr>
                  <a:t>Prestar los servicios de depuración de archivos para todos los ambientes</a:t>
                </a:r>
              </a:p>
            </p:txBody>
          </p:sp>
        </p:grpSp>
        <p:pic>
          <p:nvPicPr>
            <p:cNvPr id="35" name="Picture 6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959827" y="4360618"/>
              <a:ext cx="552450" cy="5590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0595125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4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0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 txBox="1">
            <a:spLocks/>
          </p:cNvSpPr>
          <p:nvPr/>
        </p:nvSpPr>
        <p:spPr>
          <a:xfrm>
            <a:off x="1983325" y="563150"/>
            <a:ext cx="8911687" cy="8078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EC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evo Modelo operativo</a:t>
            </a:r>
            <a:endParaRPr lang="es-EC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Diagrama 4"/>
          <p:cNvGraphicFramePr/>
          <p:nvPr>
            <p:extLst>
              <p:ext uri="{D42A27DB-BD31-4B8C-83A1-F6EECF244321}">
                <p14:modId xmlns:p14="http://schemas.microsoft.com/office/powerpoint/2010/main" val="2942649957"/>
              </p:ext>
            </p:extLst>
          </p:nvPr>
        </p:nvGraphicFramePr>
        <p:xfrm>
          <a:off x="1607820" y="891540"/>
          <a:ext cx="9753600" cy="56616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0252626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Graphic spid="5" grpId="0">
        <p:bldAsOne/>
      </p:bldGraphic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983325" y="563150"/>
            <a:ext cx="8911687" cy="8078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C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clusiones</a:t>
            </a:r>
            <a:endParaRPr lang="es-EC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Marcador de contenido 2"/>
          <p:cNvSpPr>
            <a:spLocks noGrp="1"/>
          </p:cNvSpPr>
          <p:nvPr>
            <p:ph idx="1"/>
          </p:nvPr>
        </p:nvSpPr>
        <p:spPr>
          <a:xfrm>
            <a:off x="2604452" y="1935480"/>
            <a:ext cx="8915400" cy="3777622"/>
          </a:xfrm>
        </p:spPr>
        <p:txBody>
          <a:bodyPr>
            <a:normAutofit/>
          </a:bodyPr>
          <a:lstStyle/>
          <a:p>
            <a:pPr marL="342900" lvl="3" indent="-342900"/>
            <a:r>
              <a:rPr lang="es-EC" sz="1800" dirty="0"/>
              <a:t>Se </a:t>
            </a:r>
            <a:r>
              <a:rPr lang="es-EC" sz="1800" dirty="0" smtClean="0"/>
              <a:t>identificó </a:t>
            </a:r>
            <a:r>
              <a:rPr lang="es-EC" sz="1800" dirty="0"/>
              <a:t>los procesos </a:t>
            </a:r>
            <a:r>
              <a:rPr lang="es-EC" sz="1800" dirty="0" smtClean="0"/>
              <a:t>existentes.</a:t>
            </a:r>
          </a:p>
          <a:p>
            <a:pPr marL="342900" lvl="3" indent="-342900"/>
            <a:r>
              <a:rPr lang="es-EC" sz="1800" dirty="0" smtClean="0"/>
              <a:t>Consolidó procesos que implicaban perdidas económicas y RRHH.</a:t>
            </a:r>
            <a:endParaRPr lang="es-EC" sz="1800" dirty="0"/>
          </a:p>
          <a:p>
            <a:pPr marL="342900" lvl="3" indent="-342900"/>
            <a:r>
              <a:rPr lang="es-EC" sz="1800" dirty="0" smtClean="0"/>
              <a:t>Optimización de ANS</a:t>
            </a:r>
            <a:r>
              <a:rPr lang="es-EC" sz="1800" dirty="0"/>
              <a:t>.</a:t>
            </a:r>
          </a:p>
          <a:p>
            <a:r>
              <a:rPr lang="es-EC" dirty="0" smtClean="0"/>
              <a:t>Nueva Estructura.</a:t>
            </a:r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2682786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500"/>
                            </p:stCondLst>
                            <p:childTnLst>
                              <p:par>
                                <p:cTn id="21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 txBox="1">
            <a:spLocks/>
          </p:cNvSpPr>
          <p:nvPr/>
        </p:nvSpPr>
        <p:spPr>
          <a:xfrm>
            <a:off x="1983325" y="563150"/>
            <a:ext cx="8911687" cy="80787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es-EC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ecomendaciones</a:t>
            </a:r>
            <a:endParaRPr lang="es-EC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Marcador de contenido 2"/>
          <p:cNvSpPr txBox="1">
            <a:spLocks/>
          </p:cNvSpPr>
          <p:nvPr/>
        </p:nvSpPr>
        <p:spPr>
          <a:xfrm>
            <a:off x="2604452" y="1935480"/>
            <a:ext cx="8915400" cy="37776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s-EC" dirty="0" smtClean="0"/>
              <a:t>Levantamiento </a:t>
            </a:r>
            <a:r>
              <a:rPr lang="es-EC" dirty="0"/>
              <a:t>continuo de los </a:t>
            </a:r>
            <a:r>
              <a:rPr lang="es-EC" dirty="0" smtClean="0"/>
              <a:t>procesos.</a:t>
            </a:r>
            <a:endParaRPr lang="es-EC" dirty="0"/>
          </a:p>
          <a:p>
            <a:pPr lvl="0"/>
            <a:r>
              <a:rPr lang="es-EC" dirty="0" smtClean="0"/>
              <a:t>Hacer </a:t>
            </a:r>
            <a:r>
              <a:rPr lang="es-EC" dirty="0"/>
              <a:t>un recorrido de procesos </a:t>
            </a:r>
            <a:r>
              <a:rPr lang="es-EC" dirty="0" smtClean="0"/>
              <a:t>constante.</a:t>
            </a:r>
            <a:endParaRPr lang="es-EC" dirty="0"/>
          </a:p>
          <a:p>
            <a:pPr lvl="0"/>
            <a:r>
              <a:rPr lang="es-EC" dirty="0" smtClean="0"/>
              <a:t>Implementar menor tiempo posible.</a:t>
            </a:r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3310083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3783370" y="2797966"/>
            <a:ext cx="5783323" cy="1280890"/>
          </a:xfrm>
        </p:spPr>
        <p:txBody>
          <a:bodyPr>
            <a:normAutofit fontScale="90000"/>
          </a:bodyPr>
          <a:lstStyle/>
          <a:p>
            <a:r>
              <a:rPr lang="es-EC" sz="7300" dirty="0" smtClean="0">
                <a:solidFill>
                  <a:schemeClr val="accent1"/>
                </a:solidFill>
              </a:rPr>
              <a:t>Preguntas</a:t>
            </a:r>
            <a:r>
              <a:rPr lang="es-EC" sz="5400" dirty="0">
                <a:solidFill>
                  <a:schemeClr val="accent1"/>
                </a:solidFill>
              </a:rPr>
              <a:t/>
            </a:r>
            <a:br>
              <a:rPr lang="es-EC" sz="5400" dirty="0">
                <a:solidFill>
                  <a:schemeClr val="accent1"/>
                </a:solidFill>
              </a:rPr>
            </a:br>
            <a:endParaRPr lang="es-EC" sz="5400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1526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92925" y="1293962"/>
            <a:ext cx="8911687" cy="611038"/>
          </a:xfrm>
        </p:spPr>
        <p:txBody>
          <a:bodyPr>
            <a:noAutofit/>
          </a:bodyPr>
          <a:lstStyle/>
          <a:p>
            <a:r>
              <a:rPr lang="es-EC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mas:</a:t>
            </a:r>
            <a:endParaRPr lang="es-EC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C" dirty="0" smtClean="0"/>
              <a:t>Área de Servidores</a:t>
            </a:r>
          </a:p>
          <a:p>
            <a:r>
              <a:rPr lang="es-EC" dirty="0" smtClean="0"/>
              <a:t>Situación actual</a:t>
            </a:r>
          </a:p>
          <a:p>
            <a:r>
              <a:rPr lang="es-EC" dirty="0" smtClean="0"/>
              <a:t>Nuevo Modelo operativo</a:t>
            </a:r>
          </a:p>
          <a:p>
            <a:r>
              <a:rPr lang="es-EC" dirty="0" smtClean="0"/>
              <a:t>Conclusiones y Recomendaciones</a:t>
            </a:r>
          </a:p>
          <a:p>
            <a:r>
              <a:rPr lang="es-EC" dirty="0" smtClean="0"/>
              <a:t>Preguntas</a:t>
            </a:r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1044034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500"/>
                            </p:stCondLst>
                            <p:childTnLst>
                              <p:par>
                                <p:cTn id="21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500"/>
                            </p:stCondLst>
                            <p:childTnLst>
                              <p:par>
                                <p:cTn id="2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7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92925" y="931652"/>
            <a:ext cx="8911687" cy="973347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C" dirty="0" smtClean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scripción general de la Empresa</a:t>
            </a:r>
            <a:endParaRPr lang="es-EC" dirty="0">
              <a:solidFill>
                <a:schemeClr val="accent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s-EC" dirty="0" smtClean="0"/>
              <a:t>Inicia </a:t>
            </a:r>
            <a:r>
              <a:rPr lang="es-EC" dirty="0"/>
              <a:t>el 21 de febrero de 1968, constituida como compañía de responsabilidad limitada.</a:t>
            </a:r>
          </a:p>
          <a:p>
            <a:r>
              <a:rPr lang="es-EC" dirty="0"/>
              <a:t>A fines de 1968 el número de tarjeta habientes había llegado a 507, la afiliación de establecimientos fue de 210.</a:t>
            </a:r>
          </a:p>
          <a:p>
            <a:r>
              <a:rPr lang="es-EC" dirty="0"/>
              <a:t>Inicialmente la compañía se orienta básicamente hacia el campo turístico. En 1974 se realiza el lanzamiento de la tarjeta de crédito </a:t>
            </a:r>
            <a:r>
              <a:rPr lang="es-EC" dirty="0" smtClean="0"/>
              <a:t>internacional, 2.000 </a:t>
            </a:r>
            <a:r>
              <a:rPr lang="es-EC" dirty="0"/>
              <a:t>a 5.000. </a:t>
            </a:r>
          </a:p>
          <a:p>
            <a:r>
              <a:rPr lang="es-EC" dirty="0" smtClean="0"/>
              <a:t>1987 </a:t>
            </a:r>
            <a:r>
              <a:rPr lang="es-EC" dirty="0"/>
              <a:t>se realiza la vinculación con el </a:t>
            </a:r>
            <a:r>
              <a:rPr lang="es-EC" dirty="0" smtClean="0"/>
              <a:t>BP.</a:t>
            </a:r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0867066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500"/>
                            </p:stCondLst>
                            <p:childTnLst>
                              <p:par>
                                <p:cTn id="21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589212" y="572352"/>
            <a:ext cx="8911687" cy="851007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C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Área de Servidores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2589212" y="1641895"/>
            <a:ext cx="8915400" cy="3777622"/>
          </a:xfrm>
        </p:spPr>
        <p:txBody>
          <a:bodyPr>
            <a:normAutofit/>
          </a:bodyPr>
          <a:lstStyle/>
          <a:p>
            <a:r>
              <a:rPr lang="es-EC" dirty="0" smtClean="0">
                <a:solidFill>
                  <a:schemeClr val="accent1"/>
                </a:solidFill>
              </a:rPr>
              <a:t>Misión</a:t>
            </a:r>
          </a:p>
          <a:p>
            <a:pPr marL="400050" lvl="1" indent="0" algn="just">
              <a:buNone/>
            </a:pPr>
            <a:r>
              <a:rPr lang="es-EC" dirty="0"/>
              <a:t>Proveer soluciones tecnológicas sólidas e innovadoras, que impacten de manera diferenciadora la experiencia de nuestros clientes internos y externos, garantizando velocidad, exactitud,  consistencia y alta disponibilidad de la tecnología como base fundamental del desarrollo del negocio, contando para ello con recursos humanos de alta calificación y profundo conocimiento, plataformas tecnológicas de clase mundial, procesos de operación en mejora constante y garantizando un servicio de excelencia, anclados en la innovación y la mejora continua con aprendizaje.</a:t>
            </a:r>
          </a:p>
          <a:p>
            <a:pPr marL="0" indent="0">
              <a:buNone/>
            </a:pPr>
            <a:endParaRPr lang="es-EC" dirty="0">
              <a:solidFill>
                <a:schemeClr val="accent1"/>
              </a:solidFill>
            </a:endParaRPr>
          </a:p>
          <a:p>
            <a:r>
              <a:rPr lang="es-EC" dirty="0" smtClean="0">
                <a:solidFill>
                  <a:schemeClr val="accent1"/>
                </a:solidFill>
              </a:rPr>
              <a:t>Visión</a:t>
            </a:r>
          </a:p>
          <a:p>
            <a:pPr marL="400050" lvl="1" indent="0" algn="just">
              <a:buNone/>
            </a:pPr>
            <a:r>
              <a:rPr lang="es-EC" dirty="0" smtClean="0"/>
              <a:t>Apoyando </a:t>
            </a:r>
            <a:r>
              <a:rPr lang="es-EC" dirty="0"/>
              <a:t>el desarrollo del negocio y visionando oportunidades futuras</a:t>
            </a:r>
            <a:endParaRPr lang="es-EC" dirty="0" smtClean="0"/>
          </a:p>
          <a:p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5092636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500"/>
                            </p:stCondLst>
                            <p:childTnLst>
                              <p:par>
                                <p:cTn id="21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991679" y="166910"/>
            <a:ext cx="8911687" cy="842381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C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tuación actual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1679" y="875752"/>
            <a:ext cx="9792110" cy="5326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786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2643574" y="2064590"/>
            <a:ext cx="8915400" cy="3777622"/>
          </a:xfrm>
        </p:spPr>
        <p:txBody>
          <a:bodyPr/>
          <a:lstStyle/>
          <a:p>
            <a:r>
              <a:rPr lang="es-EC" dirty="0" smtClean="0"/>
              <a:t>237 actividades</a:t>
            </a:r>
          </a:p>
          <a:p>
            <a:r>
              <a:rPr lang="es-EC" dirty="0" smtClean="0"/>
              <a:t>Redistribución actividades</a:t>
            </a:r>
          </a:p>
          <a:p>
            <a:r>
              <a:rPr lang="es-EC" dirty="0" smtClean="0"/>
              <a:t>Plan capacitación / entrega actividades</a:t>
            </a:r>
          </a:p>
          <a:p>
            <a:r>
              <a:rPr lang="es-EC" dirty="0" smtClean="0"/>
              <a:t>Recopilación de ANS</a:t>
            </a:r>
            <a:endParaRPr lang="es-EC" dirty="0"/>
          </a:p>
        </p:txBody>
      </p:sp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643574" y="788012"/>
            <a:ext cx="8911687" cy="842381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C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tuación actual</a:t>
            </a:r>
          </a:p>
        </p:txBody>
      </p:sp>
    </p:spTree>
    <p:extLst>
      <p:ext uri="{BB962C8B-B14F-4D97-AF65-F5344CB8AC3E}">
        <p14:creationId xmlns:p14="http://schemas.microsoft.com/office/powerpoint/2010/main" val="33805873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500"/>
                            </p:stCondLst>
                            <p:childTnLst>
                              <p:par>
                                <p:cTn id="21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959604" y="586010"/>
            <a:ext cx="8911687" cy="128089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C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evo Modelo operativo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92925" y="1420973"/>
            <a:ext cx="7645047" cy="4962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3746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2090901" y="586010"/>
            <a:ext cx="8911687" cy="807875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C" dirty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uevo Modelo operativo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9219164"/>
              </p:ext>
            </p:extLst>
          </p:nvPr>
        </p:nvGraphicFramePr>
        <p:xfrm>
          <a:off x="2592925" y="1285336"/>
          <a:ext cx="7907640" cy="5343980"/>
        </p:xfrm>
        <a:graphic>
          <a:graphicData uri="http://schemas.openxmlformats.org/drawingml/2006/table">
            <a:tbl>
              <a:tblPr/>
              <a:tblGrid>
                <a:gridCol w="3306158"/>
                <a:gridCol w="357756"/>
                <a:gridCol w="4243726"/>
              </a:tblGrid>
              <a:tr h="166878">
                <a:tc>
                  <a:txBody>
                    <a:bodyPr/>
                    <a:lstStyle/>
                    <a:p>
                      <a:pPr algn="ctr" fontAlgn="b"/>
                      <a:r>
                        <a:rPr lang="es-CO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Proceso objetivo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#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105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ubproceso objetivo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dministración de datos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iclo de vida de base de datos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oporte de base de datos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rowSpan="4">
                  <a:txBody>
                    <a:bodyPr/>
                    <a:lstStyle/>
                    <a:p>
                      <a:pPr algn="l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dministración de la configuración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onfiguración de hardware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4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onfiguración de sistema operativo y software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5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antenimiento de redes LAN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6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antenimiento de redes WAN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>
                  <a:txBody>
                    <a:bodyPr/>
                    <a:lstStyle/>
                    <a:p>
                      <a:pPr algn="l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dministración de la mesa de servicio y los incidentes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oporte a usuarios en Service Desk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rowSpan="5">
                  <a:txBody>
                    <a:bodyPr/>
                    <a:lstStyle/>
                    <a:p>
                      <a:pPr algn="l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dministración de operaciones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8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Procesamiento de transacciones y disponibilidad de la información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ervicio de back up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0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ervicio de recovery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EC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1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Depuración de archivos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2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oporte a usuarios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0480">
                <a:tc>
                  <a:txBody>
                    <a:bodyPr/>
                    <a:lstStyle/>
                    <a:p>
                      <a:pPr algn="l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dministración del desempeño y la capacidad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3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dministración del desempeño y la capacidad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>
                  <a:txBody>
                    <a:bodyPr/>
                    <a:lstStyle/>
                    <a:p>
                      <a:pPr algn="l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dminsitración del ambiente físico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4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dminsitración del ambiente físico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dquisición y mantenimiento de la infraestructura de TI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5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antenimiento de hardware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6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antenimiento de software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>
                  <a:txBody>
                    <a:bodyPr/>
                    <a:lstStyle/>
                    <a:p>
                      <a:pPr algn="l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Evaluación y administración los riesgos de TI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7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Evaluación y administración los riesgos de TI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rowSpan="7">
                  <a:txBody>
                    <a:bodyPr/>
                    <a:lstStyle/>
                    <a:p>
                      <a:pPr algn="l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Garantizar la seguridad de los sistemas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8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Administración de la seguridad de la información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9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onitoreo de seguridad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0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Paso a producción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1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olicitud de respaldos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2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Rotación de respaldos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3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ustodia de respaldos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4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eguridad y control administrativo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>
                  <a:txBody>
                    <a:bodyPr/>
                    <a:lstStyle/>
                    <a:p>
                      <a:pPr algn="l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Gestión de accesos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5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antenimiento de usuarios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>
                  <a:txBody>
                    <a:bodyPr/>
                    <a:lstStyle/>
                    <a:p>
                      <a:pPr algn="l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Gestión de eventos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6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Gestión de eventos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Gestión de la continuidad de TI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7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ontingencia Autorizador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8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ontingencia Gestor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9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Contingencia Peoplesoft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rowSpan="4">
                  <a:txBody>
                    <a:bodyPr/>
                    <a:lstStyle/>
                    <a:p>
                      <a:pPr algn="l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Gestión de la disponibilidad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0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onitoreo de aplicaciones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1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onitoreo de centrales telefonicas, equipos de comunicación y enlaces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2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onitoreo de transacciones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33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onitoreo de servidores y discos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2317">
                <a:tc>
                  <a:txBody>
                    <a:bodyPr/>
                    <a:lstStyle/>
                    <a:p>
                      <a:pPr algn="l" fontAlgn="ctr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Gestión de problemas</a:t>
                      </a: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CO" sz="9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34</a:t>
                      </a:r>
                      <a:endParaRPr lang="es-CO" sz="9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19" marR="7019" marT="7019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9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Gestión de problemas</a:t>
                      </a:r>
                    </a:p>
                  </a:txBody>
                  <a:tcPr marL="7019" marR="7019" marT="7019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31772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MOROJchEa9DWS_1y4pJ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A0KlrOg0m.M421gHQc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diV9J0W0y_pdgwGF7c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IVUsG0Xk21PuV1vFlxp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6npHR6SkydWtymk0hfs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AgJ.HrTEmWG7O1wcyKe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82kYdumU66sBrYNIF2x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BmCaHzAEukxBi5INqgV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nYeqbmESP6fuj4pENO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nYeqbmESP6fuj4pENO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YLrFZBD0KpG_zd9EmJh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4Q.eS6m0CgPsRsurqn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diV9J0W0y_pdgwGF7c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L9KnaKHUaliO5N2IseM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CZq1HacEmAS6YcmFtWF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CP0VLuokqWoWwV8ns5A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v307.wP02yrO3PLH3m2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bZaOzN2Ue1U_NtZIsuu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gOsDbX3E.91_IGPFRRf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aw9oYyNUa4vTFyTzU9s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CCTC59Nk6JBq8Luzxdt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jer_O8yUyqhFZh.LKXj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s4YoArKECkbW7TUTwB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IVUsG0Xk21PuV1vFlxp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8g6hqN0UGB6KMD.AACt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J_kYoBtE2hJ2SZfqV5b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JZjzq2wE.bsaRdWXNBh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rGmkmnoU2WjkFXEZGo8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M9GxoypU23uUEoi63z7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2x5ujMjkyiiaQOuMzyK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MWxMXctEiRe6pSBtRPV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SWR1a68UmvJTT66wJYO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8yxdwBU0COWO5Un4HQn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UqZK5kuUanjUPzH7UZg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6npHR6SkydWtymk0hfs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cq58Aj3ka.mfqTZUNZL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AneyZMDkG5vI3TUZkvC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lZ7eEUWUqCh9A.oQycR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aj7zHhC0.VelS2k1jas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eyn.QQyUOGWIJSk9pNV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oAcwzLe0uwoh6GDMYLl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d3cRTEJUOoE3SlsrpZF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n8utwBnEWrgbIn1swc0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xTFkhVOUieT75y4Wq2O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rSS6GiGUK3_0w6hToU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AgJ.HrTEmWG7O1wcyKe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Rso2sfqUiKLBkvghoKh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7sofomVuECWYywnTxVzc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svX5WlsUWDvuRyVvm4b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Oe92gxiU2FU4Zqay4tF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DLslQXL0y.HBap8wghl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b5RwSXI0.zYP0jo5jRj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DUipPeqE6d0eNsTIcKu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XYD0LhBEqWKhTO_YMmu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KmLtLloEeA16DmsEwXK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loW1vSXUWIqwdeI1dE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82kYdumU66sBrYNIF2x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1yZbT6F0KfNIC9GzcPX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HfQtlOMkWl8PBtqvXvQ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5mt3e95UKbUuYXCMSjQ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ul1jDpeEKzDV6wIZ7C_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s9BnOZtk.Q_RAOCMLgd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Fwek0wEkqxrgyi.e5z7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ZhtCe_vESZp9q_0Az94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iWZC2CiU6T1z.QVBwKr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LVXDW1Rk.IW0v172OE8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F7KRq9TU2oB2FqH2Yo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BmCaHzAEukxBi5INqgV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t4VS_eD0iXAF7MvRB81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Wa08SnYECi740tNJGBF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wGjeBDQkuaahJISRZnP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w3TkLK4UyaPBe5eYPyV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vt0ssZaEq3KHiCOHHG.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A0KlrOg0m.M421gHQcy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diV9J0W0y_pdgwGF7ct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jnYeqbmESP6fuj4pEN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IVUsG0Xk21PuV1vFlxp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6npHR6SkydWtymk0hfs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AgJ.HrTEmWG7O1wcyKe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cXYBbnqkSwDK_e5zFIv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8aIpDZykye7E8ON0JC7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82kYdumU66sBrYNIF2x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PvV82g1Uiq9WPKgIPYo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6NCCRELUyIDkL48pImY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cCHPnm_0.ghH9kG3Tdu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PU8D4Uc0WD3o7mWZhXd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PU8D4Uc0WD3o7mWZhXd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DUIdBdTkGAdqK5VujHV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QLYXm1BU6Vk.rEvrMZF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5pjLDT90KnWHza88cIo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PU8D4Uc0WD3o7mWZhXd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LFOq7mF06mqNM6ssowY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BmCaHzAEukxBi5INqgV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HYHRjjGEmZdIR7p1Hfy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A0KlrOg0m.M421gHQcy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diV9J0W0y_pdgwGF7ct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IVUsG0Xk21PuV1vFlxp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6npHR6SkydWtymk0hfs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AgJ.HrTEmWG7O1wcyKe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82kYdumU66sBrYNIF2x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BmCaHzAEukxBi5INqgV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PU8D4Uc0WD3o7mWZhXd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AgJ.HrTEmWG7O1wcyKe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oOqKH3EkWP.6AFn9RSB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PU8D4Uc0WD3o7mWZhXd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AgJ.HrTEmWG7O1wcyKe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w3TkLK4UyaPBe5eYPyV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PU8D4Uc0WD3o7mWZhXd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AgJ.HrTEmWG7O1wcyKe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PU8D4Uc0WD3o7mWZhXd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AgJ.HrTEmWG7O1wcyKe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PU8D4Uc0WD3o7mWZhX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UywUHhmEqWM6w3Sn61l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IVUsG0Xk21PuV1vFlxp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AgJ.HrTEmWG7O1wcyKe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Sv6IZhf0.J1OjH5kLqa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7aaLO6FkyscaEdZ1Uhh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PU8D4Uc0WD3o7mWZhXd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AgJ.HrTEmWG7O1wcyKe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7aaLO6FkyscaEdZ1Uhh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PU8D4Uc0WD3o7mWZhXd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AgJ.HrTEmWG7O1wcyKe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w3TkLK4UyaPBe5eYPyV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C448bYPEi9kO1ZE.s8l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PU8D4Uc0WD3o7mWZhXd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AgJ.HrTEmWG7O1wcyKe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PU8D4Uc0WD3o7mWZhXd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AgJ.HrTEmWG7O1wcyKe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Vw3TkLK4UyaPBe5eYPyV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0jdQjWbk6PSjNJb5OhY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bjySD_5EqLgD1UdZ6Cv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PU8D4Uc0WD3o7mWZhXd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ozA.sVW0al9BrUpGH6B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AgJ.HrTEmWG7O1wcyK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Mm5X2ZrUyOYLyCkpJ4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cFE_0y4kyos1QueS8Aj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_KHrojB0WBAwHguZnhd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klxUD_hU6ALTtAAWJaZ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snv59BM0SRwSr6MY5UU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6V4GC0mUuETDP79T92r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5pjLDT90KnWHza88cI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bCL8C.fUG_XiW0qq31I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B07fYrWEu44gma6QEh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H4dn2DI40GcPdaRPEpQZ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kCGWc1WkenGW5y4R31L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NVO9szBEGYLx3xK1pi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YLrFZBD0KpG_zd9EmJh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VJThTyvkyTLjX2B7hi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U8ZRMSp0.OJz.OclF9H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Zh_67HYUGUOtpxK0wh9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w72uQneU.0jDOUy9S.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_1W0Y8eFUGTw1LPELLAE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9__oSXUZUSSH1PdtwpA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9__oSXUZUSSH1PdtwpAo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QExvqmOky5uL0RyhTzQ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2h18JGYU.G5b43FvOG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DUIdBdTkGAdqK5VujH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uxjCo4ZUGKqB_Gz.YH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QLYXm1BU6Vk.rEvrMZF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5pjLDT90KnWHza88cI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QExvqmOky5uL0RyhTzQ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ARdLxSeEGGsL8M9x_NI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cnQeCg5ECKb9FuMc8c4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QExvqmOky5uL0RyhTzQ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vt0ssZaEq3KHiCOHHG.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A0KlrOg0m.M421gHQc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diV9J0W0y_pdgwGF7c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UIVUsG0Xk21PuV1vFlx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R86xuPA0aqFtr2AeXr3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6npHR6SkydWtymk0hfs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AgJ.HrTEmWG7O1wcyK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82kYdumU66sBrYNIF2x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BmCaHzAEukxBi5INqgV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8GevU_wUygpNMX7Nf2e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GU00W.f0iBy0PCqBEa.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Sbk2m.DU.DYQ.byVwg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CqTNGvt02.pSC0PiDfd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sb_YMfeU.Hx47B8bopb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GwIXkJzEebrBWYw0rM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vt0ssZaEq3KHiCOHHG.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g_OUfx9Ue3fRhFXkO1F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6XbmW9pkCYGvHf8r7ZP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RyJVv9kukCfLre1Suh0U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2NYMuLyUSwcHf5XC1iM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7NX0AVOUa9uyxclT.Qa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zKTHTtfUiWHQJxFPRiC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KhLiZG1kG72cr17trfl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mI0MuPFkyLbV.G6pj4j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WLu4_T20OcLW2ccdxhz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YPGYe7JkOmhNzdCEgxN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AgJ.HrTEmWG7O1wcyKe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TgggX4fEGgmmW7XnL4w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oh3aQyz0CYRvkEBlrVv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TocijhVECwuCpLHvKfx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hvjlzWTkqJQg9OGU448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18w4vkEUWC0Daxyl93o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zKEwMFzUOD9w5CiB_l0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KanKuFC0q4zco4ic0J0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7IjUFXsEC_83LgfXgW7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hLCBmrl0Oacd_l5SB.G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0BogyT0LEOdv1qLLWFe.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vt0ssZaEq3KHiCOHHG.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FWoabnXUCCSrjfQaxrn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2p5xGIwUaETC.3w7NYg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bAFyTjm0GsgF19gUWSz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jNEWXkVUWHbQyxEwvvE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IvrxLKxUeZkKqbjVqpu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VDumbV7kCZ9jiEvMZJf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PU8D4Uc0WD3o7mWZhXd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LFOq7mF06mqNM6ssowY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HYHRjjGEmZdIR7p1Hfy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A0KlrOg0m.M421gHQcyA"/>
</p:tagLst>
</file>

<file path=ppt/theme/theme1.xml><?xml version="1.0" encoding="utf-8"?>
<a:theme xmlns:a="http://schemas.openxmlformats.org/drawingml/2006/main" name="Espiral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isp</Template>
  <TotalTime>185</TotalTime>
  <Words>1512</Words>
  <Application>Microsoft Office PowerPoint</Application>
  <PresentationFormat>Panorámica</PresentationFormat>
  <Paragraphs>431</Paragraphs>
  <Slides>24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31" baseType="lpstr">
      <vt:lpstr>Arial</vt:lpstr>
      <vt:lpstr>Calibri</vt:lpstr>
      <vt:lpstr>Century Gothic</vt:lpstr>
      <vt:lpstr>Times New Roman</vt:lpstr>
      <vt:lpstr>Wingdings</vt:lpstr>
      <vt:lpstr>Wingdings 3</vt:lpstr>
      <vt:lpstr>Espiral</vt:lpstr>
      <vt:lpstr>Bienvenidos </vt:lpstr>
      <vt:lpstr>ANÁLISIS DE LA SITUACIÓN ACTUAL DE LOS PROCESOS DEL ÁREA DE SERVIDORES DE LA EMPRESA ACMECARD E IMPLEMENTACIÓN DE MEJORAS PARA EL CORRECTO FUNCIONAMIENTO OPERATIVO DEL ÁREA</vt:lpstr>
      <vt:lpstr>Temas:</vt:lpstr>
      <vt:lpstr>Descripción general de la Empresa</vt:lpstr>
      <vt:lpstr>Área de Servidores</vt:lpstr>
      <vt:lpstr>Situación actual</vt:lpstr>
      <vt:lpstr>Situación actual</vt:lpstr>
      <vt:lpstr>Nuevo Modelo operativo</vt:lpstr>
      <vt:lpstr>Nuevo Modelo operativo</vt:lpstr>
      <vt:lpstr>Nuevo Modelo operativo</vt:lpstr>
      <vt:lpstr>Nuevo Modelo operativo</vt:lpstr>
      <vt:lpstr>Nuevo Modelo operativo</vt:lpstr>
      <vt:lpstr>Nuevo Modelo operativo</vt:lpstr>
      <vt:lpstr>Nuevo Modelo operativo</vt:lpstr>
      <vt:lpstr>Nuevo Modelo operativo</vt:lpstr>
      <vt:lpstr>Nuevo Modelo operativo</vt:lpstr>
      <vt:lpstr>Nuevo Modelo operativo</vt:lpstr>
      <vt:lpstr>Gestión de la Continuidad del Servicio</vt:lpstr>
      <vt:lpstr>Nuevo Modelo operativo</vt:lpstr>
      <vt:lpstr>Administración de Operaciones</vt:lpstr>
      <vt:lpstr>Presentación de PowerPoint</vt:lpstr>
      <vt:lpstr>Conclusiones</vt:lpstr>
      <vt:lpstr>Presentación de PowerPoint</vt:lpstr>
      <vt:lpstr>Preguntas 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envenidos</dc:title>
  <dc:creator>Windows User</dc:creator>
  <cp:lastModifiedBy>Windows User</cp:lastModifiedBy>
  <cp:revision>18</cp:revision>
  <dcterms:created xsi:type="dcterms:W3CDTF">2015-09-04T03:45:27Z</dcterms:created>
  <dcterms:modified xsi:type="dcterms:W3CDTF">2015-11-25T03:29:01Z</dcterms:modified>
</cp:coreProperties>
</file>